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trictFirstAndLastChars="0" saveSubsetFonts="1" autoCompressPictures="0">
  <p:sldMasterIdLst>
    <p:sldMasterId id="2147483667" r:id="rId1"/>
    <p:sldMasterId id="2147483702" r:id="rId2"/>
  </p:sldMasterIdLst>
  <p:notesMasterIdLst>
    <p:notesMasterId r:id="rId14"/>
  </p:notesMasterIdLst>
  <p:handoutMasterIdLst>
    <p:handoutMasterId r:id="rId15"/>
  </p:handoutMasterIdLst>
  <p:sldIdLst>
    <p:sldId id="1084" r:id="rId3"/>
    <p:sldId id="1079" r:id="rId4"/>
    <p:sldId id="1080" r:id="rId5"/>
    <p:sldId id="1083" r:id="rId6"/>
    <p:sldId id="1078" r:id="rId7"/>
    <p:sldId id="1073" r:id="rId8"/>
    <p:sldId id="1081" r:id="rId9"/>
    <p:sldId id="1077" r:id="rId10"/>
    <p:sldId id="1085" r:id="rId11"/>
    <p:sldId id="1082" r:id="rId12"/>
    <p:sldId id="1056" r:id="rId13"/>
  </p:sldIdLst>
  <p:sldSz cx="12192000" cy="6858000"/>
  <p:notesSz cx="6724650" cy="9774238"/>
  <p:custDataLst>
    <p:tags r:id="rId1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1109" userDrawn="1">
          <p15:clr>
            <a:srgbClr val="A4A3A4"/>
          </p15:clr>
        </p15:guide>
        <p15:guide id="3" orient="horz" pos="201" userDrawn="1">
          <p15:clr>
            <a:srgbClr val="A4A3A4"/>
          </p15:clr>
        </p15:guide>
        <p15:guide id="4" pos="6363" userDrawn="1">
          <p15:clr>
            <a:srgbClr val="A4A3A4"/>
          </p15:clr>
        </p15:guide>
        <p15:guide id="5" orient="horz" pos="19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607" userDrawn="1">
          <p15:clr>
            <a:srgbClr val="A4A3A4"/>
          </p15:clr>
        </p15:guide>
        <p15:guide id="2" pos="2898" userDrawn="1">
          <p15:clr>
            <a:srgbClr val="A4A3A4"/>
          </p15:clr>
        </p15:guide>
        <p15:guide id="3" orient="horz" pos="3079" userDrawn="1">
          <p15:clr>
            <a:srgbClr val="A4A3A4"/>
          </p15:clr>
        </p15:guide>
        <p15:guide id="4" pos="212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Автор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A700"/>
    <a:srgbClr val="FF9966"/>
    <a:srgbClr val="EDF5FD"/>
    <a:srgbClr val="E7F0FD"/>
    <a:srgbClr val="517D21"/>
    <a:srgbClr val="66FFCC"/>
    <a:srgbClr val="33CCCC"/>
    <a:srgbClr val="2B3990"/>
    <a:srgbClr val="FF0000"/>
    <a:srgbClr val="FF66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390" autoAdjust="0"/>
    <p:restoredTop sz="92016" autoAdjust="0"/>
  </p:normalViewPr>
  <p:slideViewPr>
    <p:cSldViewPr snapToGrid="0">
      <p:cViewPr varScale="1">
        <p:scale>
          <a:sx n="70" d="100"/>
          <a:sy n="70" d="100"/>
        </p:scale>
        <p:origin x="1080" y="60"/>
      </p:cViewPr>
      <p:guideLst>
        <p:guide pos="1109"/>
        <p:guide orient="horz" pos="201"/>
        <p:guide pos="6363"/>
        <p:guide orient="horz" pos="19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90" d="100"/>
        <a:sy n="90" d="100"/>
      </p:scale>
      <p:origin x="0" y="0"/>
    </p:cViewPr>
  </p:sorterViewPr>
  <p:notesViewPr>
    <p:cSldViewPr snapToGrid="0">
      <p:cViewPr varScale="1">
        <p:scale>
          <a:sx n="47" d="100"/>
          <a:sy n="47" d="100"/>
        </p:scale>
        <p:origin x="786" y="48"/>
      </p:cViewPr>
      <p:guideLst>
        <p:guide orient="horz" pos="4607"/>
        <p:guide pos="2898"/>
        <p:guide orient="horz" pos="3079"/>
        <p:guide pos="212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\\Arc\&#1044;&#1055;&#1041;\5%20&#1054;&#1090;&#1095;&#1077;&#1090;&#1099;\&#1054;&#1090;&#1095;&#1077;&#1090;&#1099;%20&#1055;&#1088;&#1072;&#1074;&#1083;&#1077;&#1085;&#1080;&#1077;,&#1050;&#1086;&#1084;&#1080;&#1090;&#1077;&#1090;,%20&#1057;&#1044;\2022\&#1043;&#1086;&#1076;&#1086;&#1074;&#1086;&#1081;\&#1060;&#1072;&#1081;&#1083;&#1099;%20&#1069;&#1082;&#1089;&#1077;&#1083;&#1100;\&#1086;&#1090;&#1095;&#1077;&#1090;%20&#1054;&#1058;&#1080;&#1058;&#1041;-&#1087;&#1086;&#1076;&#1088;&#1103;&#1076;&#1095;&#1080;&#1082;&#1080;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Arc\&#1044;&#1055;&#1041;\5%20&#1054;&#1090;&#1095;&#1077;&#1090;&#1099;\&#1054;&#1090;&#1095;&#1077;&#1090;&#1099;%20&#1055;&#1088;&#1072;&#1074;&#1083;&#1077;&#1085;&#1080;&#1077;,&#1050;&#1086;&#1084;&#1080;&#1090;&#1077;&#1090;,%20&#1057;&#1044;\2022\&#1043;&#1086;&#1076;&#1086;&#1074;&#1086;&#1081;\&#1060;&#1072;&#1081;&#1083;&#1099;%20&#1069;&#1082;&#1089;&#1077;&#1083;&#1100;\&#1086;&#1090;&#1095;&#1077;&#1090;%20&#1054;&#1058;&#1080;&#1058;&#1041;-&#1087;&#1086;&#1076;&#1088;&#1103;&#1076;&#1095;&#1080;&#1082;&#1080;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ru-RU" sz="1200"/>
              <a:t>ПАБ в ПО за 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6565736545991527"/>
          <c:y val="0.21535548430556251"/>
          <c:w val="0.4067373611834984"/>
          <c:h val="0.7244589007347953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368A-48B9-93AF-B198D09A0BD9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68A-48B9-93AF-B198D09A0BD9}"/>
              </c:ext>
            </c:extLst>
          </c:dPt>
          <c:dLbls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2!$F$11:$F$12</c:f>
              <c:strCache>
                <c:ptCount val="2"/>
                <c:pt idx="0">
                  <c:v>ПАБ без нарушений</c:v>
                </c:pt>
                <c:pt idx="1">
                  <c:v>ПАБ с нарушениями</c:v>
                </c:pt>
              </c:strCache>
            </c:strRef>
          </c:cat>
          <c:val>
            <c:numRef>
              <c:f>Лист2!$G$11:$G$12</c:f>
              <c:numCache>
                <c:formatCode>General</c:formatCode>
                <c:ptCount val="2"/>
                <c:pt idx="0">
                  <c:v>228</c:v>
                </c:pt>
                <c:pt idx="1">
                  <c:v>7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68A-48B9-93AF-B198D09A0BD9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 sz="1050">
          <a:solidFill>
            <a:schemeClr val="tx1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 rtl="0">
              <a:defRPr sz="1200" b="1" i="0" u="none" strike="noStrike" kern="1200" baseline="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+mn-cs"/>
              </a:defRPr>
            </a:pPr>
            <a:r>
              <a:rPr lang="kk-KZ" sz="1200"/>
              <a:t>ОУ, ОД,</a:t>
            </a:r>
            <a:r>
              <a:rPr lang="en-US" sz="1200"/>
              <a:t> Near Miss </a:t>
            </a:r>
            <a:r>
              <a:rPr lang="kk-KZ" sz="1200"/>
              <a:t>в ПО за </a:t>
            </a:r>
            <a:r>
              <a:rPr lang="ru-RU" sz="1200"/>
              <a:t>2022 год</a:t>
            </a:r>
          </a:p>
        </c:rich>
      </c:tx>
      <c:layout>
        <c:manualLayout>
          <c:xMode val="edge"/>
          <c:yMode val="edge"/>
          <c:x val="0.15701377952755904"/>
          <c:y val="3.703703703703703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 rtl="0">
            <a:defRPr sz="1200" b="1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title>
    <c:autoTitleDeleted val="0"/>
    <c:plotArea>
      <c:layout>
        <c:manualLayout>
          <c:layoutTarget val="inner"/>
          <c:xMode val="edge"/>
          <c:yMode val="edge"/>
          <c:x val="0.10155716128406166"/>
          <c:y val="0.20421751559684567"/>
          <c:w val="0.42210374760995617"/>
          <c:h val="0.71057526831811135"/>
        </c:manualLayout>
      </c:layout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6DBD-4360-A1A4-3E568A7C9A91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6DBD-4360-A1A4-3E568A7C9A91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254000" sx="102000" sy="102000" algn="ctr" rotWithShape="0">
                  <a:prstClr val="black">
                    <a:alpha val="2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6DBD-4360-A1A4-3E568A7C9A91}"/>
              </c:ext>
            </c:extLst>
          </c:dPt>
          <c:dLbls>
            <c:dLbl>
              <c:idx val="1"/>
              <c:layout>
                <c:manualLayout>
                  <c:x val="4.2463509964746259E-2"/>
                  <c:y val="0.30807548849487165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6DBD-4360-A1A4-3E568A7C9A91}"/>
                </c:ext>
              </c:extLst>
            </c:dLbl>
            <c:dLbl>
              <c:idx val="2"/>
              <c:layout>
                <c:manualLayout>
                  <c:x val="1.5897569499063777E-2"/>
                  <c:y val="0.21084186071975189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DBD-4360-A1A4-3E568A7C9A91}"/>
                </c:ext>
              </c:extLst>
            </c:dLbl>
            <c:spPr>
              <a:solidFill>
                <a:schemeClr val="bg1">
                  <a:lumMod val="9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50" b="1" i="0" u="none" strike="noStrike" kern="1200" baseline="0">
                    <a:solidFill>
                      <a:schemeClr val="tx1"/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dk1">
                      <a:lumMod val="50000"/>
                      <a:lumOff val="50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2!$F$53:$F$55</c:f>
              <c:strCache>
                <c:ptCount val="3"/>
                <c:pt idx="0">
                  <c:v>ОУ</c:v>
                </c:pt>
                <c:pt idx="1">
                  <c:v>ОД</c:v>
                </c:pt>
                <c:pt idx="2">
                  <c:v>NearMiss</c:v>
                </c:pt>
              </c:strCache>
            </c:strRef>
          </c:cat>
          <c:val>
            <c:numRef>
              <c:f>Лист2!$G$53:$G$55</c:f>
              <c:numCache>
                <c:formatCode>General</c:formatCode>
                <c:ptCount val="3"/>
                <c:pt idx="0">
                  <c:v>3122</c:v>
                </c:pt>
                <c:pt idx="1">
                  <c:v>266</c:v>
                </c:pt>
                <c:pt idx="2">
                  <c:v>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DBD-4360-A1A4-3E568A7C9A91}"/>
            </c:ext>
          </c:extLst>
        </c:ser>
        <c:dLbls>
          <c:dLblPos val="ctr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0" i="0" u="none" strike="noStrike" kern="1200" baseline="0">
              <a:solidFill>
                <a:schemeClr val="tx1"/>
              </a:solidFill>
              <a:latin typeface="Arial Narrow" panose="020B0606020202030204" pitchFamily="34" charset="0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 sz="1050">
          <a:solidFill>
            <a:schemeClr val="tx1"/>
          </a:solidFill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3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pattFill prst="pct75">
        <a:fgClr>
          <a:schemeClr val="dk1">
            <a:lumMod val="75000"/>
            <a:lumOff val="25000"/>
          </a:schemeClr>
        </a:fgClr>
        <a:bgClr>
          <a:schemeClr val="dk1">
            <a:lumMod val="65000"/>
            <a:lumOff val="35000"/>
          </a:schemeClr>
        </a:bgClr>
      </a:pattFill>
      <a:effectLst>
        <a:outerShdw blurRad="50800" dist="38100" dir="2700000" algn="tl" rotWithShape="0">
          <a:prstClr val="black">
            <a:alpha val="40000"/>
          </a:prstClr>
        </a:outerShdw>
      </a:effectLst>
    </cs:spPr>
    <cs:defRPr sz="1000" b="1" i="0" u="none" strike="noStrike" kern="1200" baseline="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254000" sx="102000" sy="102000" algn="ctr" rotWithShape="0">
          <a:prstClr val="black">
            <a:alpha val="20000"/>
          </a:prstClr>
        </a:out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>
            <a:alpha val="85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4_4">
  <dgm:title val=""/>
  <dgm:desc val=""/>
  <dgm:catLst>
    <dgm:cat type="accent4" pri="11400"/>
  </dgm:catLst>
  <dgm:styleLbl name="node0">
    <dgm:fillClrLst meth="cycle">
      <a:schemeClr val="accent4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4">
        <a:shade val="50000"/>
      </a:schemeClr>
      <a:schemeClr val="accent4">
        <a:tint val="55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4">
        <a:shade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4">
        <a:shade val="80000"/>
        <a:alpha val="50000"/>
      </a:schemeClr>
      <a:schemeClr val="accent4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4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4">
        <a:shade val="90000"/>
      </a:schemeClr>
      <a:schemeClr val="accent4">
        <a:tint val="50000"/>
      </a:schemeClr>
    </dgm:fillClrLst>
    <dgm:linClrLst meth="cycle">
      <a:schemeClr val="accent4">
        <a:shade val="90000"/>
      </a:schemeClr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4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4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4">
        <a:shade val="8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4">
        <a:shade val="50000"/>
      </a:schemeClr>
      <a:schemeClr val="accent4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55000"/>
      </a:schemeClr>
    </dgm:fillClrLst>
    <dgm:linClrLst meth="repeat">
      <a:schemeClr val="accent4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55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9AA3697-33C9-4D1F-8897-12CC38A9555B}" type="doc">
      <dgm:prSet loTypeId="urn:microsoft.com/office/officeart/2009/3/layout/HorizontalOrganizationChart" loCatId="hierarchy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B41EE897-40E8-4667-9997-78E8A811309E}">
      <dgm:prSet phldrT="[Текст]" custT="1"/>
      <dgm:spPr/>
      <dgm:t>
        <a:bodyPr/>
        <a:lstStyle/>
        <a:p>
          <a:r>
            <a:rPr lang="ru-RU" sz="18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тратегия развития КАП до 2028 года</a:t>
          </a:r>
          <a:endParaRPr lang="ru-RU" sz="18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5575F74-D726-4380-BB7A-8E9FF172FE89}" type="parTrans" cxnId="{9C56583F-259A-4757-9647-DB65BADD0413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A6446AA-7BE7-48FA-849D-167695013DF0}" type="sibTrans" cxnId="{9C56583F-259A-4757-9647-DB65BADD0413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942ADF28-7FFD-4C18-B3A7-DB8F56BBBBE3}">
      <dgm:prSet phldrT="[Текст]" custT="1"/>
      <dgm:spPr/>
      <dgm:t>
        <a:bodyPr/>
        <a:lstStyle/>
        <a:p>
          <a:r>
            <a:rPr lang="ru-RU" sz="1400" b="1" dirty="0">
              <a:latin typeface="Arial" panose="020B0604020202020204" pitchFamily="34" charset="0"/>
              <a:cs typeface="Arial" panose="020B0604020202020204" pitchFamily="34" charset="0"/>
            </a:rPr>
            <a:t>Стратегическая цель: «Применять передовые практики в бизнес-деятельности» </a:t>
          </a:r>
          <a:endParaRPr lang="ru-RU" sz="14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C9E476F-8511-497C-AB49-50DD4A5D4A57}" type="parTrans" cxnId="{9FF0EC78-BCE5-4A0A-922C-05B8B9467D57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14900DAC-C18F-4DB3-B341-DF142456AEF0}" type="sibTrans" cxnId="{9FF0EC78-BCE5-4A0A-922C-05B8B9467D57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4A1A2F6C-DD51-40D6-82D0-985BCB54CC13}">
      <dgm:prSet phldrT="[Текст]" custT="1"/>
      <dgm:spPr/>
      <dgm:t>
        <a:bodyPr/>
        <a:lstStyle/>
        <a:p>
          <a:pPr algn="ctr"/>
          <a:r>
            <a:rPr lang="ru-RU" sz="1200" b="1" dirty="0">
              <a:latin typeface="Arial" panose="020B0604020202020204" pitchFamily="34" charset="0"/>
              <a:cs typeface="Arial" panose="020B0604020202020204" pitchFamily="34" charset="0"/>
            </a:rPr>
            <a:t>Стратегическая задача: «Совершенствование культуры безопасности до уровня лучших мировых практик»</a:t>
          </a:r>
          <a:endParaRPr lang="ru-RU" sz="1200" dirty="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575B831-5753-4C17-941D-511DDB270C65}" type="parTrans" cxnId="{AEE664C9-2A53-49F6-AEFD-EC35E213237A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F1212FF-31DA-4253-B34C-B33E0FF8BE10}" type="sibTrans" cxnId="{AEE664C9-2A53-49F6-AEFD-EC35E213237A}">
      <dgm:prSet/>
      <dgm:spPr/>
      <dgm:t>
        <a:bodyPr/>
        <a:lstStyle/>
        <a:p>
          <a:endParaRPr lang="ru-RU" sz="16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B72B51AC-222F-4023-8542-B73B4A58F320}" type="pres">
      <dgm:prSet presAssocID="{19AA3697-33C9-4D1F-8897-12CC38A9555B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030B61AD-7844-45A0-96BF-97F2A6E670A4}" type="pres">
      <dgm:prSet presAssocID="{B41EE897-40E8-4667-9997-78E8A811309E}" presName="hierRoot1" presStyleCnt="0">
        <dgm:presLayoutVars>
          <dgm:hierBranch val="init"/>
        </dgm:presLayoutVars>
      </dgm:prSet>
      <dgm:spPr/>
    </dgm:pt>
    <dgm:pt modelId="{1AE47679-B940-45AE-B2E0-FEE88EA79D93}" type="pres">
      <dgm:prSet presAssocID="{B41EE897-40E8-4667-9997-78E8A811309E}" presName="rootComposite1" presStyleCnt="0"/>
      <dgm:spPr/>
    </dgm:pt>
    <dgm:pt modelId="{99373FF5-95BD-4C5D-A6C3-A7DB2F0B02B3}" type="pres">
      <dgm:prSet presAssocID="{B41EE897-40E8-4667-9997-78E8A811309E}" presName="rootText1" presStyleLbl="node0" presStyleIdx="0" presStyleCnt="1" custScaleY="139260">
        <dgm:presLayoutVars>
          <dgm:chPref val="3"/>
        </dgm:presLayoutVars>
      </dgm:prSet>
      <dgm:spPr/>
    </dgm:pt>
    <dgm:pt modelId="{DC8752C6-DB94-461D-8CA2-9D2234A3560E}" type="pres">
      <dgm:prSet presAssocID="{B41EE897-40E8-4667-9997-78E8A811309E}" presName="rootConnector1" presStyleLbl="node1" presStyleIdx="0" presStyleCnt="0"/>
      <dgm:spPr/>
    </dgm:pt>
    <dgm:pt modelId="{1A9BF194-E150-469C-ADA8-EE8384970230}" type="pres">
      <dgm:prSet presAssocID="{B41EE897-40E8-4667-9997-78E8A811309E}" presName="hierChild2" presStyleCnt="0"/>
      <dgm:spPr/>
    </dgm:pt>
    <dgm:pt modelId="{D91F3645-6F75-4C55-825A-322C57A32DC2}" type="pres">
      <dgm:prSet presAssocID="{1C9E476F-8511-497C-AB49-50DD4A5D4A57}" presName="Name64" presStyleLbl="parChTrans1D2" presStyleIdx="0" presStyleCnt="2"/>
      <dgm:spPr/>
    </dgm:pt>
    <dgm:pt modelId="{C7E9950B-9D94-4D40-8D06-D6F24EA42C48}" type="pres">
      <dgm:prSet presAssocID="{942ADF28-7FFD-4C18-B3A7-DB8F56BBBBE3}" presName="hierRoot2" presStyleCnt="0">
        <dgm:presLayoutVars>
          <dgm:hierBranch val="init"/>
        </dgm:presLayoutVars>
      </dgm:prSet>
      <dgm:spPr/>
    </dgm:pt>
    <dgm:pt modelId="{E32AD83A-51B2-4C63-9059-AE8C3EBB410B}" type="pres">
      <dgm:prSet presAssocID="{942ADF28-7FFD-4C18-B3A7-DB8F56BBBBE3}" presName="rootComposite" presStyleCnt="0"/>
      <dgm:spPr/>
    </dgm:pt>
    <dgm:pt modelId="{A43748BC-3ADF-4DF6-9BDE-8069CD2E4635}" type="pres">
      <dgm:prSet presAssocID="{942ADF28-7FFD-4C18-B3A7-DB8F56BBBBE3}" presName="rootText" presStyleLbl="node2" presStyleIdx="0" presStyleCnt="2" custScaleX="209854" custScaleY="154317">
        <dgm:presLayoutVars>
          <dgm:chPref val="3"/>
        </dgm:presLayoutVars>
      </dgm:prSet>
      <dgm:spPr/>
    </dgm:pt>
    <dgm:pt modelId="{13E9F919-E7C8-40D0-9840-FBD739125232}" type="pres">
      <dgm:prSet presAssocID="{942ADF28-7FFD-4C18-B3A7-DB8F56BBBBE3}" presName="rootConnector" presStyleLbl="node2" presStyleIdx="0" presStyleCnt="2"/>
      <dgm:spPr/>
    </dgm:pt>
    <dgm:pt modelId="{38D98B24-41CC-405F-8716-4FCD9A6B15F8}" type="pres">
      <dgm:prSet presAssocID="{942ADF28-7FFD-4C18-B3A7-DB8F56BBBBE3}" presName="hierChild4" presStyleCnt="0"/>
      <dgm:spPr/>
    </dgm:pt>
    <dgm:pt modelId="{6FC8BDE9-608F-4BF8-9230-E1C1DE388B3A}" type="pres">
      <dgm:prSet presAssocID="{942ADF28-7FFD-4C18-B3A7-DB8F56BBBBE3}" presName="hierChild5" presStyleCnt="0"/>
      <dgm:spPr/>
    </dgm:pt>
    <dgm:pt modelId="{29EF22EA-ADCF-49B8-9385-FD41B11C5065}" type="pres">
      <dgm:prSet presAssocID="{B575B831-5753-4C17-941D-511DDB270C65}" presName="Name64" presStyleLbl="parChTrans1D2" presStyleIdx="1" presStyleCnt="2"/>
      <dgm:spPr/>
    </dgm:pt>
    <dgm:pt modelId="{7DA98CB0-734F-4FF4-A123-126A3F5CFA31}" type="pres">
      <dgm:prSet presAssocID="{4A1A2F6C-DD51-40D6-82D0-985BCB54CC13}" presName="hierRoot2" presStyleCnt="0">
        <dgm:presLayoutVars>
          <dgm:hierBranch val="init"/>
        </dgm:presLayoutVars>
      </dgm:prSet>
      <dgm:spPr/>
    </dgm:pt>
    <dgm:pt modelId="{5415D858-D2FA-4721-9456-9BF4E4B50A6D}" type="pres">
      <dgm:prSet presAssocID="{4A1A2F6C-DD51-40D6-82D0-985BCB54CC13}" presName="rootComposite" presStyleCnt="0"/>
      <dgm:spPr/>
    </dgm:pt>
    <dgm:pt modelId="{58384175-61C6-4217-AA39-6E0ECCA72C74}" type="pres">
      <dgm:prSet presAssocID="{4A1A2F6C-DD51-40D6-82D0-985BCB54CC13}" presName="rootText" presStyleLbl="node2" presStyleIdx="1" presStyleCnt="2" custScaleX="211432" custScaleY="169694">
        <dgm:presLayoutVars>
          <dgm:chPref val="3"/>
        </dgm:presLayoutVars>
      </dgm:prSet>
      <dgm:spPr/>
    </dgm:pt>
    <dgm:pt modelId="{714110F1-9719-4148-9031-BE84C5E86EDF}" type="pres">
      <dgm:prSet presAssocID="{4A1A2F6C-DD51-40D6-82D0-985BCB54CC13}" presName="rootConnector" presStyleLbl="node2" presStyleIdx="1" presStyleCnt="2"/>
      <dgm:spPr/>
    </dgm:pt>
    <dgm:pt modelId="{0850786C-F29F-470F-9D30-ED2D45398954}" type="pres">
      <dgm:prSet presAssocID="{4A1A2F6C-DD51-40D6-82D0-985BCB54CC13}" presName="hierChild4" presStyleCnt="0"/>
      <dgm:spPr/>
    </dgm:pt>
    <dgm:pt modelId="{77B19C9C-539C-4FD7-B70A-F444AF3FF659}" type="pres">
      <dgm:prSet presAssocID="{4A1A2F6C-DD51-40D6-82D0-985BCB54CC13}" presName="hierChild5" presStyleCnt="0"/>
      <dgm:spPr/>
    </dgm:pt>
    <dgm:pt modelId="{7A2556A0-F9BF-4879-B04D-583BDCC3E69E}" type="pres">
      <dgm:prSet presAssocID="{B41EE897-40E8-4667-9997-78E8A811309E}" presName="hierChild3" presStyleCnt="0"/>
      <dgm:spPr/>
    </dgm:pt>
  </dgm:ptLst>
  <dgm:cxnLst>
    <dgm:cxn modelId="{787A5C0B-DB64-4398-9886-9A5FB0F135FC}" type="presOf" srcId="{B575B831-5753-4C17-941D-511DDB270C65}" destId="{29EF22EA-ADCF-49B8-9385-FD41B11C5065}" srcOrd="0" destOrd="0" presId="urn:microsoft.com/office/officeart/2009/3/layout/HorizontalOrganizationChart"/>
    <dgm:cxn modelId="{5D81D834-762B-40C8-BCB6-FA77FDE80E78}" type="presOf" srcId="{4A1A2F6C-DD51-40D6-82D0-985BCB54CC13}" destId="{58384175-61C6-4217-AA39-6E0ECCA72C74}" srcOrd="0" destOrd="0" presId="urn:microsoft.com/office/officeart/2009/3/layout/HorizontalOrganizationChart"/>
    <dgm:cxn modelId="{9C56583F-259A-4757-9647-DB65BADD0413}" srcId="{19AA3697-33C9-4D1F-8897-12CC38A9555B}" destId="{B41EE897-40E8-4667-9997-78E8A811309E}" srcOrd="0" destOrd="0" parTransId="{65575F74-D726-4380-BB7A-8E9FF172FE89}" sibTransId="{BA6446AA-7BE7-48FA-849D-167695013DF0}"/>
    <dgm:cxn modelId="{ADD13B44-68D3-4497-AE69-08FE8DFBD542}" type="presOf" srcId="{942ADF28-7FFD-4C18-B3A7-DB8F56BBBBE3}" destId="{13E9F919-E7C8-40D0-9840-FBD739125232}" srcOrd="1" destOrd="0" presId="urn:microsoft.com/office/officeart/2009/3/layout/HorizontalOrganizationChart"/>
    <dgm:cxn modelId="{BE5D5444-AC4A-4C36-A515-CF9FA811FB66}" type="presOf" srcId="{B41EE897-40E8-4667-9997-78E8A811309E}" destId="{99373FF5-95BD-4C5D-A6C3-A7DB2F0B02B3}" srcOrd="0" destOrd="0" presId="urn:microsoft.com/office/officeart/2009/3/layout/HorizontalOrganizationChart"/>
    <dgm:cxn modelId="{70400C72-389F-485A-B3DD-EEC3130E4460}" type="presOf" srcId="{1C9E476F-8511-497C-AB49-50DD4A5D4A57}" destId="{D91F3645-6F75-4C55-825A-322C57A32DC2}" srcOrd="0" destOrd="0" presId="urn:microsoft.com/office/officeart/2009/3/layout/HorizontalOrganizationChart"/>
    <dgm:cxn modelId="{9FF0EC78-BCE5-4A0A-922C-05B8B9467D57}" srcId="{B41EE897-40E8-4667-9997-78E8A811309E}" destId="{942ADF28-7FFD-4C18-B3A7-DB8F56BBBBE3}" srcOrd="0" destOrd="0" parTransId="{1C9E476F-8511-497C-AB49-50DD4A5D4A57}" sibTransId="{14900DAC-C18F-4DB3-B341-DF142456AEF0}"/>
    <dgm:cxn modelId="{6E51D87D-0F2B-44B6-B176-63D0CC4CCED3}" type="presOf" srcId="{B41EE897-40E8-4667-9997-78E8A811309E}" destId="{DC8752C6-DB94-461D-8CA2-9D2234A3560E}" srcOrd="1" destOrd="0" presId="urn:microsoft.com/office/officeart/2009/3/layout/HorizontalOrganizationChart"/>
    <dgm:cxn modelId="{B7C43B96-6FB1-4624-8044-3C73EF88C286}" type="presOf" srcId="{19AA3697-33C9-4D1F-8897-12CC38A9555B}" destId="{B72B51AC-222F-4023-8542-B73B4A58F320}" srcOrd="0" destOrd="0" presId="urn:microsoft.com/office/officeart/2009/3/layout/HorizontalOrganizationChart"/>
    <dgm:cxn modelId="{1D1606C6-98E4-4E45-A8A7-DB175D1DBF66}" type="presOf" srcId="{4A1A2F6C-DD51-40D6-82D0-985BCB54CC13}" destId="{714110F1-9719-4148-9031-BE84C5E86EDF}" srcOrd="1" destOrd="0" presId="urn:microsoft.com/office/officeart/2009/3/layout/HorizontalOrganizationChart"/>
    <dgm:cxn modelId="{AEE664C9-2A53-49F6-AEFD-EC35E213237A}" srcId="{B41EE897-40E8-4667-9997-78E8A811309E}" destId="{4A1A2F6C-DD51-40D6-82D0-985BCB54CC13}" srcOrd="1" destOrd="0" parTransId="{B575B831-5753-4C17-941D-511DDB270C65}" sibTransId="{6F1212FF-31DA-4253-B34C-B33E0FF8BE10}"/>
    <dgm:cxn modelId="{F83EBBE4-912D-4FBB-A159-351A0377ED29}" type="presOf" srcId="{942ADF28-7FFD-4C18-B3A7-DB8F56BBBBE3}" destId="{A43748BC-3ADF-4DF6-9BDE-8069CD2E4635}" srcOrd="0" destOrd="0" presId="urn:microsoft.com/office/officeart/2009/3/layout/HorizontalOrganizationChart"/>
    <dgm:cxn modelId="{3BA97D40-9471-4C18-922F-3F5255E27D6F}" type="presParOf" srcId="{B72B51AC-222F-4023-8542-B73B4A58F320}" destId="{030B61AD-7844-45A0-96BF-97F2A6E670A4}" srcOrd="0" destOrd="0" presId="urn:microsoft.com/office/officeart/2009/3/layout/HorizontalOrganizationChart"/>
    <dgm:cxn modelId="{B3B872F1-B272-4C0E-B7A7-1C8AD20EBD73}" type="presParOf" srcId="{030B61AD-7844-45A0-96BF-97F2A6E670A4}" destId="{1AE47679-B940-45AE-B2E0-FEE88EA79D93}" srcOrd="0" destOrd="0" presId="urn:microsoft.com/office/officeart/2009/3/layout/HorizontalOrganizationChart"/>
    <dgm:cxn modelId="{CB6B1D1E-20B2-4FF6-B680-AE8EA7240DD6}" type="presParOf" srcId="{1AE47679-B940-45AE-B2E0-FEE88EA79D93}" destId="{99373FF5-95BD-4C5D-A6C3-A7DB2F0B02B3}" srcOrd="0" destOrd="0" presId="urn:microsoft.com/office/officeart/2009/3/layout/HorizontalOrganizationChart"/>
    <dgm:cxn modelId="{6568A6CC-CBF8-4D6A-BF22-0BF225592AE7}" type="presParOf" srcId="{1AE47679-B940-45AE-B2E0-FEE88EA79D93}" destId="{DC8752C6-DB94-461D-8CA2-9D2234A3560E}" srcOrd="1" destOrd="0" presId="urn:microsoft.com/office/officeart/2009/3/layout/HorizontalOrganizationChart"/>
    <dgm:cxn modelId="{6F3E7B5C-8786-43CE-9D19-F0230C60DCFA}" type="presParOf" srcId="{030B61AD-7844-45A0-96BF-97F2A6E670A4}" destId="{1A9BF194-E150-469C-ADA8-EE8384970230}" srcOrd="1" destOrd="0" presId="urn:microsoft.com/office/officeart/2009/3/layout/HorizontalOrganizationChart"/>
    <dgm:cxn modelId="{1A8D2A01-4CB0-459D-9749-E2B1AC90C817}" type="presParOf" srcId="{1A9BF194-E150-469C-ADA8-EE8384970230}" destId="{D91F3645-6F75-4C55-825A-322C57A32DC2}" srcOrd="0" destOrd="0" presId="urn:microsoft.com/office/officeart/2009/3/layout/HorizontalOrganizationChart"/>
    <dgm:cxn modelId="{DA28A547-6180-487B-81D0-BC825AB3E121}" type="presParOf" srcId="{1A9BF194-E150-469C-ADA8-EE8384970230}" destId="{C7E9950B-9D94-4D40-8D06-D6F24EA42C48}" srcOrd="1" destOrd="0" presId="urn:microsoft.com/office/officeart/2009/3/layout/HorizontalOrganizationChart"/>
    <dgm:cxn modelId="{82193618-078A-4B82-B3EA-04334D5F886C}" type="presParOf" srcId="{C7E9950B-9D94-4D40-8D06-D6F24EA42C48}" destId="{E32AD83A-51B2-4C63-9059-AE8C3EBB410B}" srcOrd="0" destOrd="0" presId="urn:microsoft.com/office/officeart/2009/3/layout/HorizontalOrganizationChart"/>
    <dgm:cxn modelId="{52A7C6B4-70CC-4FC2-AD85-C6AEF2D890BA}" type="presParOf" srcId="{E32AD83A-51B2-4C63-9059-AE8C3EBB410B}" destId="{A43748BC-3ADF-4DF6-9BDE-8069CD2E4635}" srcOrd="0" destOrd="0" presId="urn:microsoft.com/office/officeart/2009/3/layout/HorizontalOrganizationChart"/>
    <dgm:cxn modelId="{EB0F780F-3C73-422B-8065-D8BF19B77F51}" type="presParOf" srcId="{E32AD83A-51B2-4C63-9059-AE8C3EBB410B}" destId="{13E9F919-E7C8-40D0-9840-FBD739125232}" srcOrd="1" destOrd="0" presId="urn:microsoft.com/office/officeart/2009/3/layout/HorizontalOrganizationChart"/>
    <dgm:cxn modelId="{CD3D1BF5-8BF4-4961-B4A8-F718F9409090}" type="presParOf" srcId="{C7E9950B-9D94-4D40-8D06-D6F24EA42C48}" destId="{38D98B24-41CC-405F-8716-4FCD9A6B15F8}" srcOrd="1" destOrd="0" presId="urn:microsoft.com/office/officeart/2009/3/layout/HorizontalOrganizationChart"/>
    <dgm:cxn modelId="{783CA94B-90E4-464B-99DC-E2CA90E89F8C}" type="presParOf" srcId="{C7E9950B-9D94-4D40-8D06-D6F24EA42C48}" destId="{6FC8BDE9-608F-4BF8-9230-E1C1DE388B3A}" srcOrd="2" destOrd="0" presId="urn:microsoft.com/office/officeart/2009/3/layout/HorizontalOrganizationChart"/>
    <dgm:cxn modelId="{42037ED4-C4F9-4182-9986-626BE321DEBF}" type="presParOf" srcId="{1A9BF194-E150-469C-ADA8-EE8384970230}" destId="{29EF22EA-ADCF-49B8-9385-FD41B11C5065}" srcOrd="2" destOrd="0" presId="urn:microsoft.com/office/officeart/2009/3/layout/HorizontalOrganizationChart"/>
    <dgm:cxn modelId="{CDA0A55D-4965-464E-9FAB-2D49EE0EC6DA}" type="presParOf" srcId="{1A9BF194-E150-469C-ADA8-EE8384970230}" destId="{7DA98CB0-734F-4FF4-A123-126A3F5CFA31}" srcOrd="3" destOrd="0" presId="urn:microsoft.com/office/officeart/2009/3/layout/HorizontalOrganizationChart"/>
    <dgm:cxn modelId="{E4481BAC-5F5A-4295-9CF9-D2D13D9DE533}" type="presParOf" srcId="{7DA98CB0-734F-4FF4-A123-126A3F5CFA31}" destId="{5415D858-D2FA-4721-9456-9BF4E4B50A6D}" srcOrd="0" destOrd="0" presId="urn:microsoft.com/office/officeart/2009/3/layout/HorizontalOrganizationChart"/>
    <dgm:cxn modelId="{5075ECA1-75F3-4F79-8391-85B9CBB8A812}" type="presParOf" srcId="{5415D858-D2FA-4721-9456-9BF4E4B50A6D}" destId="{58384175-61C6-4217-AA39-6E0ECCA72C74}" srcOrd="0" destOrd="0" presId="urn:microsoft.com/office/officeart/2009/3/layout/HorizontalOrganizationChart"/>
    <dgm:cxn modelId="{2C75DBA0-E0D1-4426-A7BF-8CBDF24F9C50}" type="presParOf" srcId="{5415D858-D2FA-4721-9456-9BF4E4B50A6D}" destId="{714110F1-9719-4148-9031-BE84C5E86EDF}" srcOrd="1" destOrd="0" presId="urn:microsoft.com/office/officeart/2009/3/layout/HorizontalOrganizationChart"/>
    <dgm:cxn modelId="{175C59E9-9611-4F08-80DA-8E291700A05C}" type="presParOf" srcId="{7DA98CB0-734F-4FF4-A123-126A3F5CFA31}" destId="{0850786C-F29F-470F-9D30-ED2D45398954}" srcOrd="1" destOrd="0" presId="urn:microsoft.com/office/officeart/2009/3/layout/HorizontalOrganizationChart"/>
    <dgm:cxn modelId="{0AB375D3-C690-4B97-B333-3A17E51CC01E}" type="presParOf" srcId="{7DA98CB0-734F-4FF4-A123-126A3F5CFA31}" destId="{77B19C9C-539C-4FD7-B70A-F444AF3FF659}" srcOrd="2" destOrd="0" presId="urn:microsoft.com/office/officeart/2009/3/layout/HorizontalOrganizationChart"/>
    <dgm:cxn modelId="{0A3D3E8E-88A3-4F58-834E-D44FA6A024D7}" type="presParOf" srcId="{030B61AD-7844-45A0-96BF-97F2A6E670A4}" destId="{7A2556A0-F9BF-4879-B04D-583BDCC3E69E}" srcOrd="2" destOrd="0" presId="urn:microsoft.com/office/officeart/2009/3/layout/HorizontalOrganizationChar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1C19A3A-AD88-4033-897A-4ED8B252AABD}" type="doc">
      <dgm:prSet loTypeId="urn:microsoft.com/office/officeart/2005/8/layout/hList6" loCatId="list" qsTypeId="urn:microsoft.com/office/officeart/2005/8/quickstyle/simple4" qsCatId="simple" csTypeId="urn:microsoft.com/office/officeart/2005/8/colors/accent0_2" csCatId="mainScheme" phldr="1"/>
      <dgm:spPr/>
    </dgm:pt>
    <dgm:pt modelId="{C51E5D5B-3217-4B30-8900-2AA1ECE743E6}">
      <dgm:prSet phldrT="[Текст]" custT="1"/>
      <dgm:spPr/>
      <dgm:t>
        <a:bodyPr/>
        <a:lstStyle/>
        <a:p>
          <a:r>
            <a:rPr lang="ru-RU" sz="1200" b="1" dirty="0"/>
            <a:t>Мы бережно относимся к окружающей среде</a:t>
          </a:r>
        </a:p>
      </dgm:t>
    </dgm:pt>
    <dgm:pt modelId="{8D344C43-02F6-428C-8345-26AF266434C4}" type="parTrans" cxnId="{06C51841-ED80-4E57-A777-F6404A63EF59}">
      <dgm:prSet/>
      <dgm:spPr/>
      <dgm:t>
        <a:bodyPr/>
        <a:lstStyle/>
        <a:p>
          <a:endParaRPr lang="ru-RU" sz="2000" b="1"/>
        </a:p>
      </dgm:t>
    </dgm:pt>
    <dgm:pt modelId="{EADDBC7F-342B-4A46-97A7-988639C2A8B6}" type="sibTrans" cxnId="{06C51841-ED80-4E57-A777-F6404A63EF59}">
      <dgm:prSet/>
      <dgm:spPr/>
      <dgm:t>
        <a:bodyPr/>
        <a:lstStyle/>
        <a:p>
          <a:endParaRPr lang="ru-RU" sz="2000" b="1"/>
        </a:p>
      </dgm:t>
    </dgm:pt>
    <dgm:pt modelId="{38D3E7B7-C45A-4127-8006-A6DF45A55B80}">
      <dgm:prSet phldrT="[Текст]" custT="1"/>
      <dgm:spPr/>
      <dgm:t>
        <a:bodyPr/>
        <a:lstStyle/>
        <a:p>
          <a:r>
            <a:rPr lang="ru-RU" sz="1200" b="1" dirty="0"/>
            <a:t>Мы поддерживаем культуру безопасности</a:t>
          </a:r>
        </a:p>
      </dgm:t>
    </dgm:pt>
    <dgm:pt modelId="{31D954AB-96B5-4917-A20D-E65B06511AFA}" type="parTrans" cxnId="{F339E1D0-7889-42B3-8EE7-B67F4A938641}">
      <dgm:prSet/>
      <dgm:spPr/>
      <dgm:t>
        <a:bodyPr/>
        <a:lstStyle/>
        <a:p>
          <a:endParaRPr lang="ru-RU" sz="2000" b="1"/>
        </a:p>
      </dgm:t>
    </dgm:pt>
    <dgm:pt modelId="{DCE85042-30D1-4BDA-BE67-FCB9B30D4916}" type="sibTrans" cxnId="{F339E1D0-7889-42B3-8EE7-B67F4A938641}">
      <dgm:prSet/>
      <dgm:spPr/>
      <dgm:t>
        <a:bodyPr/>
        <a:lstStyle/>
        <a:p>
          <a:endParaRPr lang="ru-RU" sz="2000" b="1"/>
        </a:p>
      </dgm:t>
    </dgm:pt>
    <dgm:pt modelId="{3E8BB215-5EC4-4550-B988-34BA0B361AE8}">
      <dgm:prSet phldrT="[Текст]" custT="1"/>
      <dgm:spPr/>
      <dgm:t>
        <a:bodyPr/>
        <a:lstStyle/>
        <a:p>
          <a:r>
            <a:rPr lang="ru-RU" sz="1200" b="1" dirty="0"/>
            <a:t>Мы руководствуемся стандартами безопасного бизнеса</a:t>
          </a:r>
        </a:p>
      </dgm:t>
    </dgm:pt>
    <dgm:pt modelId="{9B5FF3C7-BB92-476A-9B8F-825625255A89}" type="parTrans" cxnId="{2D81525D-BC62-4AB8-A617-88E63387ADD0}">
      <dgm:prSet/>
      <dgm:spPr/>
      <dgm:t>
        <a:bodyPr/>
        <a:lstStyle/>
        <a:p>
          <a:endParaRPr lang="ru-RU" sz="2000" b="1"/>
        </a:p>
      </dgm:t>
    </dgm:pt>
    <dgm:pt modelId="{FB0D57CD-1388-4570-91C4-472210139FC4}" type="sibTrans" cxnId="{2D81525D-BC62-4AB8-A617-88E63387ADD0}">
      <dgm:prSet/>
      <dgm:spPr/>
      <dgm:t>
        <a:bodyPr/>
        <a:lstStyle/>
        <a:p>
          <a:endParaRPr lang="ru-RU" sz="2000" b="1"/>
        </a:p>
      </dgm:t>
    </dgm:pt>
    <dgm:pt modelId="{AA1BCCAE-9F4B-4DFB-BA1D-A2E0B32D0A55}">
      <dgm:prSet phldrT="[Текст]" custT="1"/>
      <dgm:spPr/>
      <dgm:t>
        <a:bodyPr/>
        <a:lstStyle/>
        <a:p>
          <a:r>
            <a:rPr lang="ru-RU" sz="1200" b="1" dirty="0"/>
            <a:t>Мы лично несем ответственность за безопасность</a:t>
          </a:r>
        </a:p>
      </dgm:t>
    </dgm:pt>
    <dgm:pt modelId="{3E8F40DF-8EBE-4D77-990D-0AD2546A8E5D}" type="parTrans" cxnId="{65D066CA-5B8D-4474-B221-2662DA6EE846}">
      <dgm:prSet/>
      <dgm:spPr/>
      <dgm:t>
        <a:bodyPr/>
        <a:lstStyle/>
        <a:p>
          <a:endParaRPr lang="ru-RU" sz="2000" b="1"/>
        </a:p>
      </dgm:t>
    </dgm:pt>
    <dgm:pt modelId="{D399ACB8-3FB5-4CF9-AFC6-6500A3DF22AA}" type="sibTrans" cxnId="{65D066CA-5B8D-4474-B221-2662DA6EE846}">
      <dgm:prSet/>
      <dgm:spPr/>
      <dgm:t>
        <a:bodyPr/>
        <a:lstStyle/>
        <a:p>
          <a:endParaRPr lang="ru-RU" sz="2000" b="1"/>
        </a:p>
      </dgm:t>
    </dgm:pt>
    <dgm:pt modelId="{CD5A702C-AA45-4B83-A1B1-9F39C71A6C94}" type="pres">
      <dgm:prSet presAssocID="{61C19A3A-AD88-4033-897A-4ED8B252AABD}" presName="Name0" presStyleCnt="0">
        <dgm:presLayoutVars>
          <dgm:dir/>
          <dgm:resizeHandles val="exact"/>
        </dgm:presLayoutVars>
      </dgm:prSet>
      <dgm:spPr/>
    </dgm:pt>
    <dgm:pt modelId="{F5863633-4C8A-49BC-8A49-E3C5DBF09165}" type="pres">
      <dgm:prSet presAssocID="{C51E5D5B-3217-4B30-8900-2AA1ECE743E6}" presName="node" presStyleLbl="node1" presStyleIdx="0" presStyleCnt="4">
        <dgm:presLayoutVars>
          <dgm:bulletEnabled val="1"/>
        </dgm:presLayoutVars>
      </dgm:prSet>
      <dgm:spPr/>
    </dgm:pt>
    <dgm:pt modelId="{BC0D3D08-D8ED-4779-9216-8AD7D52BAE75}" type="pres">
      <dgm:prSet presAssocID="{EADDBC7F-342B-4A46-97A7-988639C2A8B6}" presName="sibTrans" presStyleCnt="0"/>
      <dgm:spPr/>
    </dgm:pt>
    <dgm:pt modelId="{AE4ED731-A594-432C-AF6A-9323D4C27F75}" type="pres">
      <dgm:prSet presAssocID="{38D3E7B7-C45A-4127-8006-A6DF45A55B80}" presName="node" presStyleLbl="node1" presStyleIdx="1" presStyleCnt="4">
        <dgm:presLayoutVars>
          <dgm:bulletEnabled val="1"/>
        </dgm:presLayoutVars>
      </dgm:prSet>
      <dgm:spPr/>
    </dgm:pt>
    <dgm:pt modelId="{06E0B0F9-E737-4873-BA6A-1E87B75D0331}" type="pres">
      <dgm:prSet presAssocID="{DCE85042-30D1-4BDA-BE67-FCB9B30D4916}" presName="sibTrans" presStyleCnt="0"/>
      <dgm:spPr/>
    </dgm:pt>
    <dgm:pt modelId="{174302A4-2CBF-447E-A8A1-8D195DA50A21}" type="pres">
      <dgm:prSet presAssocID="{3E8BB215-5EC4-4550-B988-34BA0B361AE8}" presName="node" presStyleLbl="node1" presStyleIdx="2" presStyleCnt="4">
        <dgm:presLayoutVars>
          <dgm:bulletEnabled val="1"/>
        </dgm:presLayoutVars>
      </dgm:prSet>
      <dgm:spPr/>
    </dgm:pt>
    <dgm:pt modelId="{B2691D74-0C3A-493A-8FF1-B0EF9346A0AA}" type="pres">
      <dgm:prSet presAssocID="{FB0D57CD-1388-4570-91C4-472210139FC4}" presName="sibTrans" presStyleCnt="0"/>
      <dgm:spPr/>
    </dgm:pt>
    <dgm:pt modelId="{6AD3013B-F352-4883-B40F-FA3091BC9140}" type="pres">
      <dgm:prSet presAssocID="{AA1BCCAE-9F4B-4DFB-BA1D-A2E0B32D0A55}" presName="node" presStyleLbl="node1" presStyleIdx="3" presStyleCnt="4">
        <dgm:presLayoutVars>
          <dgm:bulletEnabled val="1"/>
        </dgm:presLayoutVars>
      </dgm:prSet>
      <dgm:spPr/>
    </dgm:pt>
  </dgm:ptLst>
  <dgm:cxnLst>
    <dgm:cxn modelId="{213D9207-294F-48FB-BE51-D2A6598269F3}" type="presOf" srcId="{AA1BCCAE-9F4B-4DFB-BA1D-A2E0B32D0A55}" destId="{6AD3013B-F352-4883-B40F-FA3091BC9140}" srcOrd="0" destOrd="0" presId="urn:microsoft.com/office/officeart/2005/8/layout/hList6"/>
    <dgm:cxn modelId="{48741B18-88D9-414F-B123-E00B900A13D5}" type="presOf" srcId="{61C19A3A-AD88-4033-897A-4ED8B252AABD}" destId="{CD5A702C-AA45-4B83-A1B1-9F39C71A6C94}" srcOrd="0" destOrd="0" presId="urn:microsoft.com/office/officeart/2005/8/layout/hList6"/>
    <dgm:cxn modelId="{2D81525D-BC62-4AB8-A617-88E63387ADD0}" srcId="{61C19A3A-AD88-4033-897A-4ED8B252AABD}" destId="{3E8BB215-5EC4-4550-B988-34BA0B361AE8}" srcOrd="2" destOrd="0" parTransId="{9B5FF3C7-BB92-476A-9B8F-825625255A89}" sibTransId="{FB0D57CD-1388-4570-91C4-472210139FC4}"/>
    <dgm:cxn modelId="{2A516160-47FB-42AB-BB96-25F7D9007073}" type="presOf" srcId="{38D3E7B7-C45A-4127-8006-A6DF45A55B80}" destId="{AE4ED731-A594-432C-AF6A-9323D4C27F75}" srcOrd="0" destOrd="0" presId="urn:microsoft.com/office/officeart/2005/8/layout/hList6"/>
    <dgm:cxn modelId="{06C51841-ED80-4E57-A777-F6404A63EF59}" srcId="{61C19A3A-AD88-4033-897A-4ED8B252AABD}" destId="{C51E5D5B-3217-4B30-8900-2AA1ECE743E6}" srcOrd="0" destOrd="0" parTransId="{8D344C43-02F6-428C-8345-26AF266434C4}" sibTransId="{EADDBC7F-342B-4A46-97A7-988639C2A8B6}"/>
    <dgm:cxn modelId="{C78AC88A-D0EF-4644-AA63-F5871591413D}" type="presOf" srcId="{C51E5D5B-3217-4B30-8900-2AA1ECE743E6}" destId="{F5863633-4C8A-49BC-8A49-E3C5DBF09165}" srcOrd="0" destOrd="0" presId="urn:microsoft.com/office/officeart/2005/8/layout/hList6"/>
    <dgm:cxn modelId="{C8DBAA98-8F05-4FF5-9DE1-FE8BFDCF7B1A}" type="presOf" srcId="{3E8BB215-5EC4-4550-B988-34BA0B361AE8}" destId="{174302A4-2CBF-447E-A8A1-8D195DA50A21}" srcOrd="0" destOrd="0" presId="urn:microsoft.com/office/officeart/2005/8/layout/hList6"/>
    <dgm:cxn modelId="{65D066CA-5B8D-4474-B221-2662DA6EE846}" srcId="{61C19A3A-AD88-4033-897A-4ED8B252AABD}" destId="{AA1BCCAE-9F4B-4DFB-BA1D-A2E0B32D0A55}" srcOrd="3" destOrd="0" parTransId="{3E8F40DF-8EBE-4D77-990D-0AD2546A8E5D}" sibTransId="{D399ACB8-3FB5-4CF9-AFC6-6500A3DF22AA}"/>
    <dgm:cxn modelId="{F339E1D0-7889-42B3-8EE7-B67F4A938641}" srcId="{61C19A3A-AD88-4033-897A-4ED8B252AABD}" destId="{38D3E7B7-C45A-4127-8006-A6DF45A55B80}" srcOrd="1" destOrd="0" parTransId="{31D954AB-96B5-4917-A20D-E65B06511AFA}" sibTransId="{DCE85042-30D1-4BDA-BE67-FCB9B30D4916}"/>
    <dgm:cxn modelId="{7C99B5DF-1398-4CE8-994B-345DA98B072F}" type="presParOf" srcId="{CD5A702C-AA45-4B83-A1B1-9F39C71A6C94}" destId="{F5863633-4C8A-49BC-8A49-E3C5DBF09165}" srcOrd="0" destOrd="0" presId="urn:microsoft.com/office/officeart/2005/8/layout/hList6"/>
    <dgm:cxn modelId="{B02D97EA-1199-4DDF-968F-93D02F4D1693}" type="presParOf" srcId="{CD5A702C-AA45-4B83-A1B1-9F39C71A6C94}" destId="{BC0D3D08-D8ED-4779-9216-8AD7D52BAE75}" srcOrd="1" destOrd="0" presId="urn:microsoft.com/office/officeart/2005/8/layout/hList6"/>
    <dgm:cxn modelId="{011737C9-60AF-4C11-A990-1B64B1514A9D}" type="presParOf" srcId="{CD5A702C-AA45-4B83-A1B1-9F39C71A6C94}" destId="{AE4ED731-A594-432C-AF6A-9323D4C27F75}" srcOrd="2" destOrd="0" presId="urn:microsoft.com/office/officeart/2005/8/layout/hList6"/>
    <dgm:cxn modelId="{E0D39089-C61B-4C12-850C-F006C65CEACF}" type="presParOf" srcId="{CD5A702C-AA45-4B83-A1B1-9F39C71A6C94}" destId="{06E0B0F9-E737-4873-BA6A-1E87B75D0331}" srcOrd="3" destOrd="0" presId="urn:microsoft.com/office/officeart/2005/8/layout/hList6"/>
    <dgm:cxn modelId="{879AB463-09CA-49BF-A02B-F16AD4F3F85B}" type="presParOf" srcId="{CD5A702C-AA45-4B83-A1B1-9F39C71A6C94}" destId="{174302A4-2CBF-447E-A8A1-8D195DA50A21}" srcOrd="4" destOrd="0" presId="urn:microsoft.com/office/officeart/2005/8/layout/hList6"/>
    <dgm:cxn modelId="{77BDFFEB-30C9-4F5E-BAB2-9FDEEF3A1369}" type="presParOf" srcId="{CD5A702C-AA45-4B83-A1B1-9F39C71A6C94}" destId="{B2691D74-0C3A-493A-8FF1-B0EF9346A0AA}" srcOrd="5" destOrd="0" presId="urn:microsoft.com/office/officeart/2005/8/layout/hList6"/>
    <dgm:cxn modelId="{462A0621-9DB2-4C87-A3D5-13FE8F0EF944}" type="presParOf" srcId="{CD5A702C-AA45-4B83-A1B1-9F39C71A6C94}" destId="{6AD3013B-F352-4883-B40F-FA3091BC9140}" srcOrd="6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107028FA-524F-48E1-8F66-36B79D538D97}" type="doc">
      <dgm:prSet loTypeId="urn:microsoft.com/office/officeart/2008/layout/LinedList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D51B5D28-0EC2-4CAB-B50A-CF135ADB984D}">
      <dgm:prSet custT="1"/>
      <dgm:spPr/>
      <dgm:t>
        <a:bodyPr/>
        <a:lstStyle/>
        <a:p>
          <a:pPr rtl="0"/>
          <a:r>
            <a:rPr lang="ru-RU" sz="1600" b="1" dirty="0">
              <a:solidFill>
                <a:schemeClr val="tx1"/>
              </a:solidFill>
            </a:rPr>
            <a:t>Стать лидером</a:t>
          </a:r>
          <a:r>
            <a:rPr lang="ru-RU" sz="1600" dirty="0">
              <a:solidFill>
                <a:schemeClr val="tx1"/>
              </a:solidFill>
            </a:rPr>
            <a:t> </a:t>
          </a:r>
          <a:r>
            <a:rPr lang="ru-RU" sz="1600" dirty="0"/>
            <a:t>– показать приверженность принципам</a:t>
          </a:r>
        </a:p>
      </dgm:t>
    </dgm:pt>
    <dgm:pt modelId="{8888FC26-5E82-4CBC-99DB-654AF9F8DE48}" type="parTrans" cxnId="{A74A1071-51D0-4E1A-B86C-D40F1D1A09D3}">
      <dgm:prSet/>
      <dgm:spPr/>
      <dgm:t>
        <a:bodyPr/>
        <a:lstStyle/>
        <a:p>
          <a:endParaRPr lang="ru-RU" sz="1600"/>
        </a:p>
      </dgm:t>
    </dgm:pt>
    <dgm:pt modelId="{72FE6005-1C97-4447-A4E9-97AEE17227F6}" type="sibTrans" cxnId="{A74A1071-51D0-4E1A-B86C-D40F1D1A09D3}">
      <dgm:prSet/>
      <dgm:spPr/>
      <dgm:t>
        <a:bodyPr/>
        <a:lstStyle/>
        <a:p>
          <a:endParaRPr lang="ru-RU" sz="1600"/>
        </a:p>
      </dgm:t>
    </dgm:pt>
    <dgm:pt modelId="{775F2ED2-A3E0-47B1-9ABD-2366586ED5A5}">
      <dgm:prSet custT="1"/>
      <dgm:spPr/>
      <dgm:t>
        <a:bodyPr/>
        <a:lstStyle/>
        <a:p>
          <a:pPr rtl="0"/>
          <a:r>
            <a:rPr lang="ru-RU" sz="1600" b="1" dirty="0">
              <a:solidFill>
                <a:srgbClr val="C00000"/>
              </a:solidFill>
            </a:rPr>
            <a:t>Выявлять угрозы</a:t>
          </a:r>
          <a:r>
            <a:rPr lang="ru-RU" sz="1600" dirty="0">
              <a:solidFill>
                <a:srgbClr val="C00000"/>
              </a:solidFill>
            </a:rPr>
            <a:t> </a:t>
          </a:r>
          <a:r>
            <a:rPr lang="ru-RU" sz="1600" dirty="0"/>
            <a:t>– контролировать риски</a:t>
          </a:r>
        </a:p>
      </dgm:t>
    </dgm:pt>
    <dgm:pt modelId="{2CF8C36C-1A2C-48E6-8130-125F49C4D5C5}" type="parTrans" cxnId="{F4DAC1D2-13BA-44B4-8DBA-ABFFF0F24243}">
      <dgm:prSet/>
      <dgm:spPr/>
      <dgm:t>
        <a:bodyPr/>
        <a:lstStyle/>
        <a:p>
          <a:endParaRPr lang="ru-RU" sz="1600"/>
        </a:p>
      </dgm:t>
    </dgm:pt>
    <dgm:pt modelId="{85AD5813-75E2-471A-B571-8AD93486BE2B}" type="sibTrans" cxnId="{F4DAC1D2-13BA-44B4-8DBA-ABFFF0F24243}">
      <dgm:prSet/>
      <dgm:spPr/>
      <dgm:t>
        <a:bodyPr/>
        <a:lstStyle/>
        <a:p>
          <a:endParaRPr lang="ru-RU" sz="1600"/>
        </a:p>
      </dgm:t>
    </dgm:pt>
    <dgm:pt modelId="{52DA1F01-5B24-4A76-A12E-8FA075C89D1E}">
      <dgm:prSet custT="1"/>
      <dgm:spPr/>
      <dgm:t>
        <a:bodyPr/>
        <a:lstStyle/>
        <a:p>
          <a:pPr rtl="0"/>
          <a:r>
            <a:rPr lang="ru-RU" sz="1600" b="1" dirty="0">
              <a:solidFill>
                <a:schemeClr val="tx2"/>
              </a:solidFill>
            </a:rPr>
            <a:t>Определять цели</a:t>
          </a:r>
          <a:r>
            <a:rPr lang="ru-RU" sz="1600" dirty="0">
              <a:solidFill>
                <a:schemeClr val="tx2"/>
              </a:solidFill>
            </a:rPr>
            <a:t> </a:t>
          </a:r>
          <a:r>
            <a:rPr lang="ru-RU" sz="1600" dirty="0"/>
            <a:t>– разрабатывать программы</a:t>
          </a:r>
        </a:p>
      </dgm:t>
    </dgm:pt>
    <dgm:pt modelId="{E5B05AD7-73AC-4D14-B5D6-F184A21F10E7}" type="parTrans" cxnId="{AEABF8FE-9371-4DCE-933C-2AC6D279AFC9}">
      <dgm:prSet/>
      <dgm:spPr/>
      <dgm:t>
        <a:bodyPr/>
        <a:lstStyle/>
        <a:p>
          <a:endParaRPr lang="ru-RU" sz="1600"/>
        </a:p>
      </dgm:t>
    </dgm:pt>
    <dgm:pt modelId="{30DE8D1F-1730-4BE9-832C-D34FE286A65B}" type="sibTrans" cxnId="{AEABF8FE-9371-4DCE-933C-2AC6D279AFC9}">
      <dgm:prSet/>
      <dgm:spPr/>
      <dgm:t>
        <a:bodyPr/>
        <a:lstStyle/>
        <a:p>
          <a:endParaRPr lang="ru-RU" sz="1600"/>
        </a:p>
      </dgm:t>
    </dgm:pt>
    <dgm:pt modelId="{06778A6C-858B-416B-9D53-A2B8128DECBE}">
      <dgm:prSet custT="1"/>
      <dgm:spPr/>
      <dgm:t>
        <a:bodyPr/>
        <a:lstStyle/>
        <a:p>
          <a:pPr rtl="0"/>
          <a:r>
            <a:rPr lang="ru-RU" sz="1600" b="1" dirty="0">
              <a:solidFill>
                <a:schemeClr val="accent3"/>
              </a:solidFill>
            </a:rPr>
            <a:t>Постоянно совершенствовать систему ПБ</a:t>
          </a:r>
          <a:r>
            <a:rPr lang="ru-RU" sz="1600" dirty="0">
              <a:solidFill>
                <a:schemeClr val="accent3"/>
              </a:solidFill>
            </a:rPr>
            <a:t> </a:t>
          </a:r>
          <a:r>
            <a:rPr lang="ru-RU" sz="1600" dirty="0"/>
            <a:t>– достичь высокого уровня организации.</a:t>
          </a:r>
        </a:p>
      </dgm:t>
    </dgm:pt>
    <dgm:pt modelId="{C060099E-8EFA-45E8-893D-0582FECEC8E6}" type="parTrans" cxnId="{A5F3F020-D9CC-46FF-BB4D-F32BE194A879}">
      <dgm:prSet/>
      <dgm:spPr/>
      <dgm:t>
        <a:bodyPr/>
        <a:lstStyle/>
        <a:p>
          <a:endParaRPr lang="ru-RU" sz="1600"/>
        </a:p>
      </dgm:t>
    </dgm:pt>
    <dgm:pt modelId="{AADD61D7-2D4E-4D10-8B38-FD3E848BEBBA}" type="sibTrans" cxnId="{A5F3F020-D9CC-46FF-BB4D-F32BE194A879}">
      <dgm:prSet/>
      <dgm:spPr/>
      <dgm:t>
        <a:bodyPr/>
        <a:lstStyle/>
        <a:p>
          <a:endParaRPr lang="ru-RU" sz="1600"/>
        </a:p>
      </dgm:t>
    </dgm:pt>
    <dgm:pt modelId="{78ABAC11-F4C0-45ED-985D-AD63CEAFCF18}">
      <dgm:prSet custT="1"/>
      <dgm:spPr/>
      <dgm:t>
        <a:bodyPr/>
        <a:lstStyle/>
        <a:p>
          <a:pPr rtl="0"/>
          <a:r>
            <a:rPr lang="ru-RU" sz="1600" b="1" dirty="0">
              <a:solidFill>
                <a:srgbClr val="517D21"/>
              </a:solidFill>
            </a:rPr>
            <a:t>Обеспечить ПБ на рабочих местах</a:t>
          </a:r>
          <a:r>
            <a:rPr lang="ru-RU" sz="1600" dirty="0"/>
            <a:t>, при работе с оборудованием и опасными веществами.</a:t>
          </a:r>
        </a:p>
      </dgm:t>
    </dgm:pt>
    <dgm:pt modelId="{E698C172-5908-437F-B4D7-EA891A4C2E6C}" type="parTrans" cxnId="{A99AFE4B-91BC-438E-9813-DDBAF8CA7951}">
      <dgm:prSet/>
      <dgm:spPr/>
      <dgm:t>
        <a:bodyPr/>
        <a:lstStyle/>
        <a:p>
          <a:endParaRPr lang="ru-RU" sz="1600"/>
        </a:p>
      </dgm:t>
    </dgm:pt>
    <dgm:pt modelId="{180BF3CF-E240-4164-BBDE-8098919E8CD7}" type="sibTrans" cxnId="{A99AFE4B-91BC-438E-9813-DDBAF8CA7951}">
      <dgm:prSet/>
      <dgm:spPr/>
      <dgm:t>
        <a:bodyPr/>
        <a:lstStyle/>
        <a:p>
          <a:endParaRPr lang="ru-RU" sz="1600"/>
        </a:p>
      </dgm:t>
    </dgm:pt>
    <dgm:pt modelId="{F361FED2-D77D-4026-8B16-E56795338C62}">
      <dgm:prSet custT="1"/>
      <dgm:spPr/>
      <dgm:t>
        <a:bodyPr/>
        <a:lstStyle/>
        <a:p>
          <a:pPr rtl="0"/>
          <a:r>
            <a:rPr lang="ru-RU" sz="1600" b="1" dirty="0">
              <a:solidFill>
                <a:schemeClr val="accent2">
                  <a:lumMod val="50000"/>
                </a:schemeClr>
              </a:solidFill>
            </a:rPr>
            <a:t>Повышать квалификацию</a:t>
          </a:r>
          <a:r>
            <a:rPr lang="ru-RU" sz="1600" dirty="0">
              <a:solidFill>
                <a:schemeClr val="accent2">
                  <a:lumMod val="50000"/>
                </a:schemeClr>
              </a:solidFill>
            </a:rPr>
            <a:t> </a:t>
          </a:r>
          <a:r>
            <a:rPr lang="ru-RU" sz="1600" dirty="0"/>
            <a:t>– развивать профессиональные навыки.</a:t>
          </a:r>
        </a:p>
      </dgm:t>
    </dgm:pt>
    <dgm:pt modelId="{A564FB79-F057-42EF-98FE-E73CA41850B3}" type="parTrans" cxnId="{234D4304-50E4-4D31-962D-18BC477809C8}">
      <dgm:prSet/>
      <dgm:spPr/>
      <dgm:t>
        <a:bodyPr/>
        <a:lstStyle/>
        <a:p>
          <a:endParaRPr lang="ru-RU" sz="1600"/>
        </a:p>
      </dgm:t>
    </dgm:pt>
    <dgm:pt modelId="{0BE48C7C-DCAD-4205-A965-2DF8AC7F981E}" type="sibTrans" cxnId="{234D4304-50E4-4D31-962D-18BC477809C8}">
      <dgm:prSet/>
      <dgm:spPr/>
      <dgm:t>
        <a:bodyPr/>
        <a:lstStyle/>
        <a:p>
          <a:endParaRPr lang="ru-RU" sz="1600"/>
        </a:p>
      </dgm:t>
    </dgm:pt>
    <dgm:pt modelId="{D1285B2E-C258-4CBD-B20B-3D41B8C53ACF}">
      <dgm:prSet custT="1"/>
      <dgm:spPr/>
      <dgm:t>
        <a:bodyPr/>
        <a:lstStyle/>
        <a:p>
          <a:pPr rtl="0"/>
          <a:r>
            <a:rPr lang="ru-RU" sz="1600" b="1" dirty="0"/>
            <a:t>Инвестировать в кадры</a:t>
          </a:r>
          <a:r>
            <a:rPr lang="ru-RU" sz="1600" dirty="0"/>
            <a:t> – мотивировать посредством участия.</a:t>
          </a:r>
        </a:p>
      </dgm:t>
    </dgm:pt>
    <dgm:pt modelId="{9D59F0A3-E10C-4EEA-AD58-4ADB882BDEC3}" type="parTrans" cxnId="{08C6A403-04AB-49A2-81A0-9144A76E067E}">
      <dgm:prSet/>
      <dgm:spPr/>
      <dgm:t>
        <a:bodyPr/>
        <a:lstStyle/>
        <a:p>
          <a:endParaRPr lang="ru-RU" sz="1600"/>
        </a:p>
      </dgm:t>
    </dgm:pt>
    <dgm:pt modelId="{CC7596FC-204A-4FD2-B4C5-BAE421FEFC9D}" type="sibTrans" cxnId="{08C6A403-04AB-49A2-81A0-9144A76E067E}">
      <dgm:prSet/>
      <dgm:spPr/>
      <dgm:t>
        <a:bodyPr/>
        <a:lstStyle/>
        <a:p>
          <a:endParaRPr lang="ru-RU" sz="1600"/>
        </a:p>
      </dgm:t>
    </dgm:pt>
    <dgm:pt modelId="{11AF269D-462A-4302-82B1-1C6FDF30C1D4}" type="pres">
      <dgm:prSet presAssocID="{107028FA-524F-48E1-8F66-36B79D538D97}" presName="vert0" presStyleCnt="0">
        <dgm:presLayoutVars>
          <dgm:dir/>
          <dgm:animOne val="branch"/>
          <dgm:animLvl val="lvl"/>
        </dgm:presLayoutVars>
      </dgm:prSet>
      <dgm:spPr/>
    </dgm:pt>
    <dgm:pt modelId="{EDDE752F-117D-4581-98E4-22BB4B0EAFF1}" type="pres">
      <dgm:prSet presAssocID="{D51B5D28-0EC2-4CAB-B50A-CF135ADB984D}" presName="thickLine" presStyleLbl="alignNode1" presStyleIdx="0" presStyleCnt="7"/>
      <dgm:spPr/>
    </dgm:pt>
    <dgm:pt modelId="{34A573CE-96CE-46EC-815C-976D7C3A1DD9}" type="pres">
      <dgm:prSet presAssocID="{D51B5D28-0EC2-4CAB-B50A-CF135ADB984D}" presName="horz1" presStyleCnt="0"/>
      <dgm:spPr/>
    </dgm:pt>
    <dgm:pt modelId="{99D1E4AC-0B8C-403B-9553-90186C50BF6B}" type="pres">
      <dgm:prSet presAssocID="{D51B5D28-0EC2-4CAB-B50A-CF135ADB984D}" presName="tx1" presStyleLbl="revTx" presStyleIdx="0" presStyleCnt="7"/>
      <dgm:spPr/>
    </dgm:pt>
    <dgm:pt modelId="{4F0EC293-4B73-44CE-A8A4-D215F174676C}" type="pres">
      <dgm:prSet presAssocID="{D51B5D28-0EC2-4CAB-B50A-CF135ADB984D}" presName="vert1" presStyleCnt="0"/>
      <dgm:spPr/>
    </dgm:pt>
    <dgm:pt modelId="{0FDEB60D-7AE6-48B1-8B53-E330AF41B4F6}" type="pres">
      <dgm:prSet presAssocID="{775F2ED2-A3E0-47B1-9ABD-2366586ED5A5}" presName="thickLine" presStyleLbl="alignNode1" presStyleIdx="1" presStyleCnt="7"/>
      <dgm:spPr/>
    </dgm:pt>
    <dgm:pt modelId="{197768F4-3BE0-4CC2-A2F5-A09D292BCC0E}" type="pres">
      <dgm:prSet presAssocID="{775F2ED2-A3E0-47B1-9ABD-2366586ED5A5}" presName="horz1" presStyleCnt="0"/>
      <dgm:spPr/>
    </dgm:pt>
    <dgm:pt modelId="{E34C80BC-ADC0-4AD3-8E14-B3C605434C35}" type="pres">
      <dgm:prSet presAssocID="{775F2ED2-A3E0-47B1-9ABD-2366586ED5A5}" presName="tx1" presStyleLbl="revTx" presStyleIdx="1" presStyleCnt="7"/>
      <dgm:spPr/>
    </dgm:pt>
    <dgm:pt modelId="{633570C3-C01C-4175-8BF8-27444DCFB31B}" type="pres">
      <dgm:prSet presAssocID="{775F2ED2-A3E0-47B1-9ABD-2366586ED5A5}" presName="vert1" presStyleCnt="0"/>
      <dgm:spPr/>
    </dgm:pt>
    <dgm:pt modelId="{30B4FFE4-81DA-4035-8DD2-128C2DD0E5BE}" type="pres">
      <dgm:prSet presAssocID="{52DA1F01-5B24-4A76-A12E-8FA075C89D1E}" presName="thickLine" presStyleLbl="alignNode1" presStyleIdx="2" presStyleCnt="7"/>
      <dgm:spPr/>
    </dgm:pt>
    <dgm:pt modelId="{5DA790B9-3AC3-4C61-822F-1E40E9AF48BD}" type="pres">
      <dgm:prSet presAssocID="{52DA1F01-5B24-4A76-A12E-8FA075C89D1E}" presName="horz1" presStyleCnt="0"/>
      <dgm:spPr/>
    </dgm:pt>
    <dgm:pt modelId="{5640435C-1321-46D7-8A7A-45FCD9055F43}" type="pres">
      <dgm:prSet presAssocID="{52DA1F01-5B24-4A76-A12E-8FA075C89D1E}" presName="tx1" presStyleLbl="revTx" presStyleIdx="2" presStyleCnt="7"/>
      <dgm:spPr/>
    </dgm:pt>
    <dgm:pt modelId="{FA8E5D66-F95D-403C-B3EF-4D785D891041}" type="pres">
      <dgm:prSet presAssocID="{52DA1F01-5B24-4A76-A12E-8FA075C89D1E}" presName="vert1" presStyleCnt="0"/>
      <dgm:spPr/>
    </dgm:pt>
    <dgm:pt modelId="{3E321A5E-160F-4B28-92E6-FD65E5E181B4}" type="pres">
      <dgm:prSet presAssocID="{06778A6C-858B-416B-9D53-A2B8128DECBE}" presName="thickLine" presStyleLbl="alignNode1" presStyleIdx="3" presStyleCnt="7" custLinFactNeighborY="-20260"/>
      <dgm:spPr/>
    </dgm:pt>
    <dgm:pt modelId="{90C2E972-C381-4C30-8848-76A7A66D3A81}" type="pres">
      <dgm:prSet presAssocID="{06778A6C-858B-416B-9D53-A2B8128DECBE}" presName="horz1" presStyleCnt="0"/>
      <dgm:spPr/>
    </dgm:pt>
    <dgm:pt modelId="{74451C8C-4A7A-4599-AD1D-31F06057DA90}" type="pres">
      <dgm:prSet presAssocID="{06778A6C-858B-416B-9D53-A2B8128DECBE}" presName="tx1" presStyleLbl="revTx" presStyleIdx="3" presStyleCnt="7" custLinFactNeighborY="-10613"/>
      <dgm:spPr/>
    </dgm:pt>
    <dgm:pt modelId="{EAF06DFA-4C68-4703-8CB7-069D30B4FC37}" type="pres">
      <dgm:prSet presAssocID="{06778A6C-858B-416B-9D53-A2B8128DECBE}" presName="vert1" presStyleCnt="0"/>
      <dgm:spPr/>
    </dgm:pt>
    <dgm:pt modelId="{47563784-5663-4858-B120-C98B28551616}" type="pres">
      <dgm:prSet presAssocID="{78ABAC11-F4C0-45ED-985D-AD63CEAFCF18}" presName="thickLine" presStyleLbl="alignNode1" presStyleIdx="4" presStyleCnt="7"/>
      <dgm:spPr/>
    </dgm:pt>
    <dgm:pt modelId="{8BB3042B-E93E-4AC9-BEA5-FC874B7A0606}" type="pres">
      <dgm:prSet presAssocID="{78ABAC11-F4C0-45ED-985D-AD63CEAFCF18}" presName="horz1" presStyleCnt="0"/>
      <dgm:spPr/>
    </dgm:pt>
    <dgm:pt modelId="{B56E3DE2-7F2C-4946-98E2-75BE8C90F685}" type="pres">
      <dgm:prSet presAssocID="{78ABAC11-F4C0-45ED-985D-AD63CEAFCF18}" presName="tx1" presStyleLbl="revTx" presStyleIdx="4" presStyleCnt="7"/>
      <dgm:spPr/>
    </dgm:pt>
    <dgm:pt modelId="{D32AB8D9-36FE-4F0B-BBDF-457DA299FF9D}" type="pres">
      <dgm:prSet presAssocID="{78ABAC11-F4C0-45ED-985D-AD63CEAFCF18}" presName="vert1" presStyleCnt="0"/>
      <dgm:spPr/>
    </dgm:pt>
    <dgm:pt modelId="{63CD4B75-1759-4504-857B-2C25E1CBE134}" type="pres">
      <dgm:prSet presAssocID="{F361FED2-D77D-4026-8B16-E56795338C62}" presName="thickLine" presStyleLbl="alignNode1" presStyleIdx="5" presStyleCnt="7"/>
      <dgm:spPr/>
    </dgm:pt>
    <dgm:pt modelId="{A5537178-777C-43C5-AF6A-B089D47BB8CF}" type="pres">
      <dgm:prSet presAssocID="{F361FED2-D77D-4026-8B16-E56795338C62}" presName="horz1" presStyleCnt="0"/>
      <dgm:spPr/>
    </dgm:pt>
    <dgm:pt modelId="{4F9B1F43-6D1B-4B45-85E3-FDA1A5F42A2A}" type="pres">
      <dgm:prSet presAssocID="{F361FED2-D77D-4026-8B16-E56795338C62}" presName="tx1" presStyleLbl="revTx" presStyleIdx="5" presStyleCnt="7"/>
      <dgm:spPr/>
    </dgm:pt>
    <dgm:pt modelId="{5C46A79F-FD63-4759-8895-7CE4937B2185}" type="pres">
      <dgm:prSet presAssocID="{F361FED2-D77D-4026-8B16-E56795338C62}" presName="vert1" presStyleCnt="0"/>
      <dgm:spPr/>
    </dgm:pt>
    <dgm:pt modelId="{A575BAB9-E079-4F45-A4C3-730220CB7A5F}" type="pres">
      <dgm:prSet presAssocID="{D1285B2E-C258-4CBD-B20B-3D41B8C53ACF}" presName="thickLine" presStyleLbl="alignNode1" presStyleIdx="6" presStyleCnt="7"/>
      <dgm:spPr/>
    </dgm:pt>
    <dgm:pt modelId="{90C151A3-972F-4AE8-832B-3D65FCA4F7C7}" type="pres">
      <dgm:prSet presAssocID="{D1285B2E-C258-4CBD-B20B-3D41B8C53ACF}" presName="horz1" presStyleCnt="0"/>
      <dgm:spPr/>
    </dgm:pt>
    <dgm:pt modelId="{9F78F0AA-85D4-4C6A-9B4C-267B2A9BA445}" type="pres">
      <dgm:prSet presAssocID="{D1285B2E-C258-4CBD-B20B-3D41B8C53ACF}" presName="tx1" presStyleLbl="revTx" presStyleIdx="6" presStyleCnt="7"/>
      <dgm:spPr/>
    </dgm:pt>
    <dgm:pt modelId="{1E1612E1-0888-44B2-9903-723C0589A496}" type="pres">
      <dgm:prSet presAssocID="{D1285B2E-C258-4CBD-B20B-3D41B8C53ACF}" presName="vert1" presStyleCnt="0"/>
      <dgm:spPr/>
    </dgm:pt>
  </dgm:ptLst>
  <dgm:cxnLst>
    <dgm:cxn modelId="{08C6A403-04AB-49A2-81A0-9144A76E067E}" srcId="{107028FA-524F-48E1-8F66-36B79D538D97}" destId="{D1285B2E-C258-4CBD-B20B-3D41B8C53ACF}" srcOrd="6" destOrd="0" parTransId="{9D59F0A3-E10C-4EEA-AD58-4ADB882BDEC3}" sibTransId="{CC7596FC-204A-4FD2-B4C5-BAE421FEFC9D}"/>
    <dgm:cxn modelId="{234D4304-50E4-4D31-962D-18BC477809C8}" srcId="{107028FA-524F-48E1-8F66-36B79D538D97}" destId="{F361FED2-D77D-4026-8B16-E56795338C62}" srcOrd="5" destOrd="0" parTransId="{A564FB79-F057-42EF-98FE-E73CA41850B3}" sibTransId="{0BE48C7C-DCAD-4205-A965-2DF8AC7F981E}"/>
    <dgm:cxn modelId="{A5F3F020-D9CC-46FF-BB4D-F32BE194A879}" srcId="{107028FA-524F-48E1-8F66-36B79D538D97}" destId="{06778A6C-858B-416B-9D53-A2B8128DECBE}" srcOrd="3" destOrd="0" parTransId="{C060099E-8EFA-45E8-893D-0582FECEC8E6}" sibTransId="{AADD61D7-2D4E-4D10-8B38-FD3E848BEBBA}"/>
    <dgm:cxn modelId="{B1B5F967-3D43-49FD-A941-4411085D866F}" type="presOf" srcId="{78ABAC11-F4C0-45ED-985D-AD63CEAFCF18}" destId="{B56E3DE2-7F2C-4946-98E2-75BE8C90F685}" srcOrd="0" destOrd="0" presId="urn:microsoft.com/office/officeart/2008/layout/LinedList"/>
    <dgm:cxn modelId="{C88D916B-3924-4772-A62D-2F9C67B6B517}" type="presOf" srcId="{107028FA-524F-48E1-8F66-36B79D538D97}" destId="{11AF269D-462A-4302-82B1-1C6FDF30C1D4}" srcOrd="0" destOrd="0" presId="urn:microsoft.com/office/officeart/2008/layout/LinedList"/>
    <dgm:cxn modelId="{A99AFE4B-91BC-438E-9813-DDBAF8CA7951}" srcId="{107028FA-524F-48E1-8F66-36B79D538D97}" destId="{78ABAC11-F4C0-45ED-985D-AD63CEAFCF18}" srcOrd="4" destOrd="0" parTransId="{E698C172-5908-437F-B4D7-EA891A4C2E6C}" sibTransId="{180BF3CF-E240-4164-BBDE-8098919E8CD7}"/>
    <dgm:cxn modelId="{A74A1071-51D0-4E1A-B86C-D40F1D1A09D3}" srcId="{107028FA-524F-48E1-8F66-36B79D538D97}" destId="{D51B5D28-0EC2-4CAB-B50A-CF135ADB984D}" srcOrd="0" destOrd="0" parTransId="{8888FC26-5E82-4CBC-99DB-654AF9F8DE48}" sibTransId="{72FE6005-1C97-4447-A4E9-97AEE17227F6}"/>
    <dgm:cxn modelId="{684E7C7E-830B-4E33-8EBF-6447F73D11C9}" type="presOf" srcId="{D51B5D28-0EC2-4CAB-B50A-CF135ADB984D}" destId="{99D1E4AC-0B8C-403B-9553-90186C50BF6B}" srcOrd="0" destOrd="0" presId="urn:microsoft.com/office/officeart/2008/layout/LinedList"/>
    <dgm:cxn modelId="{96008AC8-5121-4E2C-8B77-6750B2FB51FD}" type="presOf" srcId="{52DA1F01-5B24-4A76-A12E-8FA075C89D1E}" destId="{5640435C-1321-46D7-8A7A-45FCD9055F43}" srcOrd="0" destOrd="0" presId="urn:microsoft.com/office/officeart/2008/layout/LinedList"/>
    <dgm:cxn modelId="{855B71C9-758F-479F-BED0-99BE05A919DD}" type="presOf" srcId="{06778A6C-858B-416B-9D53-A2B8128DECBE}" destId="{74451C8C-4A7A-4599-AD1D-31F06057DA90}" srcOrd="0" destOrd="0" presId="urn:microsoft.com/office/officeart/2008/layout/LinedList"/>
    <dgm:cxn modelId="{F4DAC1D2-13BA-44B4-8DBA-ABFFF0F24243}" srcId="{107028FA-524F-48E1-8F66-36B79D538D97}" destId="{775F2ED2-A3E0-47B1-9ABD-2366586ED5A5}" srcOrd="1" destOrd="0" parTransId="{2CF8C36C-1A2C-48E6-8130-125F49C4D5C5}" sibTransId="{85AD5813-75E2-471A-B571-8AD93486BE2B}"/>
    <dgm:cxn modelId="{28AEFAD7-593E-4F1E-9C60-66CF2FB8AC22}" type="presOf" srcId="{F361FED2-D77D-4026-8B16-E56795338C62}" destId="{4F9B1F43-6D1B-4B45-85E3-FDA1A5F42A2A}" srcOrd="0" destOrd="0" presId="urn:microsoft.com/office/officeart/2008/layout/LinedList"/>
    <dgm:cxn modelId="{5B1D8ADD-834A-4EE1-BE68-197664517DE9}" type="presOf" srcId="{775F2ED2-A3E0-47B1-9ABD-2366586ED5A5}" destId="{E34C80BC-ADC0-4AD3-8E14-B3C605434C35}" srcOrd="0" destOrd="0" presId="urn:microsoft.com/office/officeart/2008/layout/LinedList"/>
    <dgm:cxn modelId="{AC6132E7-EDA8-4829-8138-D84CD9D7AE9D}" type="presOf" srcId="{D1285B2E-C258-4CBD-B20B-3D41B8C53ACF}" destId="{9F78F0AA-85D4-4C6A-9B4C-267B2A9BA445}" srcOrd="0" destOrd="0" presId="urn:microsoft.com/office/officeart/2008/layout/LinedList"/>
    <dgm:cxn modelId="{AEABF8FE-9371-4DCE-933C-2AC6D279AFC9}" srcId="{107028FA-524F-48E1-8F66-36B79D538D97}" destId="{52DA1F01-5B24-4A76-A12E-8FA075C89D1E}" srcOrd="2" destOrd="0" parTransId="{E5B05AD7-73AC-4D14-B5D6-F184A21F10E7}" sibTransId="{30DE8D1F-1730-4BE9-832C-D34FE286A65B}"/>
    <dgm:cxn modelId="{3079B8B4-AC9A-4B2E-BD5A-C99D69E94F17}" type="presParOf" srcId="{11AF269D-462A-4302-82B1-1C6FDF30C1D4}" destId="{EDDE752F-117D-4581-98E4-22BB4B0EAFF1}" srcOrd="0" destOrd="0" presId="urn:microsoft.com/office/officeart/2008/layout/LinedList"/>
    <dgm:cxn modelId="{99018C22-121A-492E-94D4-86A5B6139E5A}" type="presParOf" srcId="{11AF269D-462A-4302-82B1-1C6FDF30C1D4}" destId="{34A573CE-96CE-46EC-815C-976D7C3A1DD9}" srcOrd="1" destOrd="0" presId="urn:microsoft.com/office/officeart/2008/layout/LinedList"/>
    <dgm:cxn modelId="{4C3D2D26-3A8C-4544-B775-3720D67A7D98}" type="presParOf" srcId="{34A573CE-96CE-46EC-815C-976D7C3A1DD9}" destId="{99D1E4AC-0B8C-403B-9553-90186C50BF6B}" srcOrd="0" destOrd="0" presId="urn:microsoft.com/office/officeart/2008/layout/LinedList"/>
    <dgm:cxn modelId="{53A2C1C4-5B6E-4917-8C65-A0327C8B93D5}" type="presParOf" srcId="{34A573CE-96CE-46EC-815C-976D7C3A1DD9}" destId="{4F0EC293-4B73-44CE-A8A4-D215F174676C}" srcOrd="1" destOrd="0" presId="urn:microsoft.com/office/officeart/2008/layout/LinedList"/>
    <dgm:cxn modelId="{E99EE6A8-099D-4F2B-B848-38AA5D2467E9}" type="presParOf" srcId="{11AF269D-462A-4302-82B1-1C6FDF30C1D4}" destId="{0FDEB60D-7AE6-48B1-8B53-E330AF41B4F6}" srcOrd="2" destOrd="0" presId="urn:microsoft.com/office/officeart/2008/layout/LinedList"/>
    <dgm:cxn modelId="{6B6955B2-9273-4CBB-92AD-13E132ABDDC8}" type="presParOf" srcId="{11AF269D-462A-4302-82B1-1C6FDF30C1D4}" destId="{197768F4-3BE0-4CC2-A2F5-A09D292BCC0E}" srcOrd="3" destOrd="0" presId="urn:microsoft.com/office/officeart/2008/layout/LinedList"/>
    <dgm:cxn modelId="{A1DBEF41-8132-4DF0-92CA-B6D37D7FB313}" type="presParOf" srcId="{197768F4-3BE0-4CC2-A2F5-A09D292BCC0E}" destId="{E34C80BC-ADC0-4AD3-8E14-B3C605434C35}" srcOrd="0" destOrd="0" presId="urn:microsoft.com/office/officeart/2008/layout/LinedList"/>
    <dgm:cxn modelId="{6D6911EE-6DFD-47C7-BBF6-69C25D7D9DE1}" type="presParOf" srcId="{197768F4-3BE0-4CC2-A2F5-A09D292BCC0E}" destId="{633570C3-C01C-4175-8BF8-27444DCFB31B}" srcOrd="1" destOrd="0" presId="urn:microsoft.com/office/officeart/2008/layout/LinedList"/>
    <dgm:cxn modelId="{DE6D4625-AB22-42FC-8770-7EEC39AC94AD}" type="presParOf" srcId="{11AF269D-462A-4302-82B1-1C6FDF30C1D4}" destId="{30B4FFE4-81DA-4035-8DD2-128C2DD0E5BE}" srcOrd="4" destOrd="0" presId="urn:microsoft.com/office/officeart/2008/layout/LinedList"/>
    <dgm:cxn modelId="{14EB6AEB-CB29-4208-87E4-3E7BF24785C6}" type="presParOf" srcId="{11AF269D-462A-4302-82B1-1C6FDF30C1D4}" destId="{5DA790B9-3AC3-4C61-822F-1E40E9AF48BD}" srcOrd="5" destOrd="0" presId="urn:microsoft.com/office/officeart/2008/layout/LinedList"/>
    <dgm:cxn modelId="{49021536-0AFE-4EB0-B24B-026B0CEA086F}" type="presParOf" srcId="{5DA790B9-3AC3-4C61-822F-1E40E9AF48BD}" destId="{5640435C-1321-46D7-8A7A-45FCD9055F43}" srcOrd="0" destOrd="0" presId="urn:microsoft.com/office/officeart/2008/layout/LinedList"/>
    <dgm:cxn modelId="{F383EDB9-7BE5-4919-9258-43D99DC59ED5}" type="presParOf" srcId="{5DA790B9-3AC3-4C61-822F-1E40E9AF48BD}" destId="{FA8E5D66-F95D-403C-B3EF-4D785D891041}" srcOrd="1" destOrd="0" presId="urn:microsoft.com/office/officeart/2008/layout/LinedList"/>
    <dgm:cxn modelId="{1C328EA3-BE41-4E66-9AB7-E0122DC6BDAC}" type="presParOf" srcId="{11AF269D-462A-4302-82B1-1C6FDF30C1D4}" destId="{3E321A5E-160F-4B28-92E6-FD65E5E181B4}" srcOrd="6" destOrd="0" presId="urn:microsoft.com/office/officeart/2008/layout/LinedList"/>
    <dgm:cxn modelId="{94C58CA5-A415-422C-992F-EBB96E82D7E6}" type="presParOf" srcId="{11AF269D-462A-4302-82B1-1C6FDF30C1D4}" destId="{90C2E972-C381-4C30-8848-76A7A66D3A81}" srcOrd="7" destOrd="0" presId="urn:microsoft.com/office/officeart/2008/layout/LinedList"/>
    <dgm:cxn modelId="{A6E74CB4-BCDA-4AD0-A922-5676D08EF93A}" type="presParOf" srcId="{90C2E972-C381-4C30-8848-76A7A66D3A81}" destId="{74451C8C-4A7A-4599-AD1D-31F06057DA90}" srcOrd="0" destOrd="0" presId="urn:microsoft.com/office/officeart/2008/layout/LinedList"/>
    <dgm:cxn modelId="{4695450B-1AC7-4F7E-9B17-26E195027529}" type="presParOf" srcId="{90C2E972-C381-4C30-8848-76A7A66D3A81}" destId="{EAF06DFA-4C68-4703-8CB7-069D30B4FC37}" srcOrd="1" destOrd="0" presId="urn:microsoft.com/office/officeart/2008/layout/LinedList"/>
    <dgm:cxn modelId="{12A3F76C-65A0-4730-8ABC-A8C1F3728FB2}" type="presParOf" srcId="{11AF269D-462A-4302-82B1-1C6FDF30C1D4}" destId="{47563784-5663-4858-B120-C98B28551616}" srcOrd="8" destOrd="0" presId="urn:microsoft.com/office/officeart/2008/layout/LinedList"/>
    <dgm:cxn modelId="{7D54C950-E1A7-40A1-8D7F-E13F2AB590EC}" type="presParOf" srcId="{11AF269D-462A-4302-82B1-1C6FDF30C1D4}" destId="{8BB3042B-E93E-4AC9-BEA5-FC874B7A0606}" srcOrd="9" destOrd="0" presId="urn:microsoft.com/office/officeart/2008/layout/LinedList"/>
    <dgm:cxn modelId="{9B27D4C4-5210-40DD-8511-09E0780FFFAE}" type="presParOf" srcId="{8BB3042B-E93E-4AC9-BEA5-FC874B7A0606}" destId="{B56E3DE2-7F2C-4946-98E2-75BE8C90F685}" srcOrd="0" destOrd="0" presId="urn:microsoft.com/office/officeart/2008/layout/LinedList"/>
    <dgm:cxn modelId="{A86E96AC-9B40-49F9-B548-36C95C1C7E9B}" type="presParOf" srcId="{8BB3042B-E93E-4AC9-BEA5-FC874B7A0606}" destId="{D32AB8D9-36FE-4F0B-BBDF-457DA299FF9D}" srcOrd="1" destOrd="0" presId="urn:microsoft.com/office/officeart/2008/layout/LinedList"/>
    <dgm:cxn modelId="{37CC1142-AD7E-4D90-A349-47FC84925413}" type="presParOf" srcId="{11AF269D-462A-4302-82B1-1C6FDF30C1D4}" destId="{63CD4B75-1759-4504-857B-2C25E1CBE134}" srcOrd="10" destOrd="0" presId="urn:microsoft.com/office/officeart/2008/layout/LinedList"/>
    <dgm:cxn modelId="{DB8D1116-DB8E-463F-9021-99A997D7DF3B}" type="presParOf" srcId="{11AF269D-462A-4302-82B1-1C6FDF30C1D4}" destId="{A5537178-777C-43C5-AF6A-B089D47BB8CF}" srcOrd="11" destOrd="0" presId="urn:microsoft.com/office/officeart/2008/layout/LinedList"/>
    <dgm:cxn modelId="{54CE6831-EFD5-4556-82B8-228EB5736E91}" type="presParOf" srcId="{A5537178-777C-43C5-AF6A-B089D47BB8CF}" destId="{4F9B1F43-6D1B-4B45-85E3-FDA1A5F42A2A}" srcOrd="0" destOrd="0" presId="urn:microsoft.com/office/officeart/2008/layout/LinedList"/>
    <dgm:cxn modelId="{91021AC0-CE9D-4FFE-8E6C-B30FAA824BDC}" type="presParOf" srcId="{A5537178-777C-43C5-AF6A-B089D47BB8CF}" destId="{5C46A79F-FD63-4759-8895-7CE4937B2185}" srcOrd="1" destOrd="0" presId="urn:microsoft.com/office/officeart/2008/layout/LinedList"/>
    <dgm:cxn modelId="{A9EE0D83-C434-46E6-AD18-105AC33D532A}" type="presParOf" srcId="{11AF269D-462A-4302-82B1-1C6FDF30C1D4}" destId="{A575BAB9-E079-4F45-A4C3-730220CB7A5F}" srcOrd="12" destOrd="0" presId="urn:microsoft.com/office/officeart/2008/layout/LinedList"/>
    <dgm:cxn modelId="{7B2D577A-DE83-4AE2-B3DA-F7D1EF154CCD}" type="presParOf" srcId="{11AF269D-462A-4302-82B1-1C6FDF30C1D4}" destId="{90C151A3-972F-4AE8-832B-3D65FCA4F7C7}" srcOrd="13" destOrd="0" presId="urn:microsoft.com/office/officeart/2008/layout/LinedList"/>
    <dgm:cxn modelId="{417C237D-73A7-4432-A3EE-DAC4A4827AE5}" type="presParOf" srcId="{90C151A3-972F-4AE8-832B-3D65FCA4F7C7}" destId="{9F78F0AA-85D4-4C6A-9B4C-267B2A9BA445}" srcOrd="0" destOrd="0" presId="urn:microsoft.com/office/officeart/2008/layout/LinedList"/>
    <dgm:cxn modelId="{D1BDA0D5-3E11-4BAA-9A85-10C1C66D3EE4}" type="presParOf" srcId="{90C151A3-972F-4AE8-832B-3D65FCA4F7C7}" destId="{1E1612E1-0888-44B2-9903-723C0589A496}" srcOrd="1" destOrd="0" presId="urn:microsoft.com/office/officeart/2008/layout/LinedLis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F44CC5B2-1E83-47BA-B9FB-04DB589880FA}" type="doc">
      <dgm:prSet loTypeId="urn:microsoft.com/office/officeart/2005/8/layout/list1" loCatId="list" qsTypeId="urn:microsoft.com/office/officeart/2005/8/quickstyle/simple2" qsCatId="simple" csTypeId="urn:microsoft.com/office/officeart/2005/8/colors/accent4_4" csCatId="accent4" phldr="1"/>
      <dgm:spPr/>
      <dgm:t>
        <a:bodyPr/>
        <a:lstStyle/>
        <a:p>
          <a:endParaRPr lang="ru-RU"/>
        </a:p>
      </dgm:t>
    </dgm:pt>
    <dgm:pt modelId="{AD428CD1-53A3-474B-A0EE-7567ED082B2E}">
      <dgm:prSet phldrT="[Текст]"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План мероприятий по снижению уровня травматизма</a:t>
          </a:r>
        </a:p>
      </dgm:t>
    </dgm:pt>
    <dgm:pt modelId="{512FFE72-BE2E-4F58-8844-3886ADDAE790}" type="parTrans" cxnId="{E4CD9B30-17FC-4E6F-8238-567E6B4F4A48}">
      <dgm:prSet/>
      <dgm:spPr/>
      <dgm:t>
        <a:bodyPr/>
        <a:lstStyle/>
        <a:p>
          <a:endParaRPr lang="ru-RU" sz="1600"/>
        </a:p>
      </dgm:t>
    </dgm:pt>
    <dgm:pt modelId="{50C8B8F8-7D57-4F0E-863B-FCD3D54E1B66}" type="sibTrans" cxnId="{E4CD9B30-17FC-4E6F-8238-567E6B4F4A48}">
      <dgm:prSet/>
      <dgm:spPr/>
      <dgm:t>
        <a:bodyPr/>
        <a:lstStyle/>
        <a:p>
          <a:endParaRPr lang="ru-RU" sz="1600"/>
        </a:p>
      </dgm:t>
    </dgm:pt>
    <dgm:pt modelId="{5668E67C-4F1C-49DE-8A55-142C9619580E}">
      <dgm:prSet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Стандарт «Единая система управления производственной безопасностью»</a:t>
          </a:r>
        </a:p>
      </dgm:t>
    </dgm:pt>
    <dgm:pt modelId="{AEA7BFB8-DFE4-4E26-9591-E702CA9CA092}" type="parTrans" cxnId="{FE106386-82CF-4EAA-8120-FFF01680915E}">
      <dgm:prSet/>
      <dgm:spPr/>
      <dgm:t>
        <a:bodyPr/>
        <a:lstStyle/>
        <a:p>
          <a:endParaRPr lang="ru-RU" sz="1600"/>
        </a:p>
      </dgm:t>
    </dgm:pt>
    <dgm:pt modelId="{9C90AE46-D126-4162-A756-949AB5FEE10B}" type="sibTrans" cxnId="{FE106386-82CF-4EAA-8120-FFF01680915E}">
      <dgm:prSet/>
      <dgm:spPr/>
      <dgm:t>
        <a:bodyPr/>
        <a:lstStyle/>
        <a:p>
          <a:endParaRPr lang="ru-RU" sz="1600"/>
        </a:p>
      </dgm:t>
    </dgm:pt>
    <dgm:pt modelId="{D0E0C34B-52F9-46A1-B125-7DECDDF548FF}">
      <dgm:prSet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Идентификация и оценка рисков</a:t>
          </a:r>
        </a:p>
      </dgm:t>
    </dgm:pt>
    <dgm:pt modelId="{772A069C-9631-427C-A2AF-839401DDD14D}" type="parTrans" cxnId="{83A09B9F-FA0C-4397-8CBC-7F31C0AEB6D8}">
      <dgm:prSet/>
      <dgm:spPr/>
      <dgm:t>
        <a:bodyPr/>
        <a:lstStyle/>
        <a:p>
          <a:endParaRPr lang="ru-RU"/>
        </a:p>
      </dgm:t>
    </dgm:pt>
    <dgm:pt modelId="{167A1B68-C308-4834-829F-9944C8B3823A}" type="sibTrans" cxnId="{83A09B9F-FA0C-4397-8CBC-7F31C0AEB6D8}">
      <dgm:prSet/>
      <dgm:spPr/>
      <dgm:t>
        <a:bodyPr/>
        <a:lstStyle/>
        <a:p>
          <a:endParaRPr lang="ru-RU"/>
        </a:p>
      </dgm:t>
    </dgm:pt>
    <dgm:pt modelId="{CFF36C7C-FD23-46E5-ADF5-DA7567A87A96}">
      <dgm:prSet phldrT="[Текст]"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Кодекс охраны труда техники безопасности АО «НАК «</a:t>
          </a:r>
          <a:r>
            <a:rPr lang="ru-RU" sz="1800" dirty="0" err="1">
              <a:latin typeface="Arial Narrow" panose="020B0606020202030204" pitchFamily="34" charset="0"/>
            </a:rPr>
            <a:t>Казатомпром</a:t>
          </a:r>
          <a:r>
            <a:rPr lang="ru-RU" sz="1800" dirty="0">
              <a:latin typeface="Arial Narrow" panose="020B0606020202030204" pitchFamily="34" charset="0"/>
            </a:rPr>
            <a:t>»</a:t>
          </a:r>
        </a:p>
      </dgm:t>
    </dgm:pt>
    <dgm:pt modelId="{51BCA522-4721-4BEE-8D32-20C2C2F8238B}" type="parTrans" cxnId="{BD083D78-FAA7-46F9-85E0-E89B575DF6E8}">
      <dgm:prSet/>
      <dgm:spPr/>
      <dgm:t>
        <a:bodyPr/>
        <a:lstStyle/>
        <a:p>
          <a:endParaRPr lang="ru-RU"/>
        </a:p>
      </dgm:t>
    </dgm:pt>
    <dgm:pt modelId="{EBDEBFCA-1DA2-4800-9083-D8D4410B4E2A}" type="sibTrans" cxnId="{BD083D78-FAA7-46F9-85E0-E89B575DF6E8}">
      <dgm:prSet/>
      <dgm:spPr/>
      <dgm:t>
        <a:bodyPr/>
        <a:lstStyle/>
        <a:p>
          <a:endParaRPr lang="ru-RU"/>
        </a:p>
      </dgm:t>
    </dgm:pt>
    <dgm:pt modelId="{A3C0D1DE-25B3-4977-800D-06BBE660D604}">
      <dgm:prSet phldrT="[Текст]" custT="1"/>
      <dgm:spPr/>
      <dgm:t>
        <a:bodyPr/>
        <a:lstStyle/>
        <a:p>
          <a:r>
            <a:rPr lang="ru-RU" sz="1800" dirty="0">
              <a:latin typeface="Arial Narrow" panose="020B0606020202030204" pitchFamily="34" charset="0"/>
            </a:rPr>
            <a:t>Корпоративный план развития культуры безопасности</a:t>
          </a:r>
        </a:p>
      </dgm:t>
    </dgm:pt>
    <dgm:pt modelId="{72A0D72C-BA1A-410E-AD8A-D40E1CA952EA}" type="parTrans" cxnId="{060ABAC9-4B24-4CF6-9DC2-ED97B76B6E1E}">
      <dgm:prSet/>
      <dgm:spPr/>
      <dgm:t>
        <a:bodyPr/>
        <a:lstStyle/>
        <a:p>
          <a:endParaRPr lang="ru-RU"/>
        </a:p>
      </dgm:t>
    </dgm:pt>
    <dgm:pt modelId="{79CB0741-68BF-4E25-9721-F00E765FF8AB}" type="sibTrans" cxnId="{060ABAC9-4B24-4CF6-9DC2-ED97B76B6E1E}">
      <dgm:prSet/>
      <dgm:spPr/>
      <dgm:t>
        <a:bodyPr/>
        <a:lstStyle/>
        <a:p>
          <a:endParaRPr lang="ru-RU"/>
        </a:p>
      </dgm:t>
    </dgm:pt>
    <dgm:pt modelId="{66560B6E-1C2C-43B2-A5A2-EE06521F9E03}" type="pres">
      <dgm:prSet presAssocID="{F44CC5B2-1E83-47BA-B9FB-04DB589880FA}" presName="linear" presStyleCnt="0">
        <dgm:presLayoutVars>
          <dgm:dir/>
          <dgm:animLvl val="lvl"/>
          <dgm:resizeHandles val="exact"/>
        </dgm:presLayoutVars>
      </dgm:prSet>
      <dgm:spPr/>
    </dgm:pt>
    <dgm:pt modelId="{B0DAA5DB-AA48-4A23-ACEF-92F3E2EF4604}" type="pres">
      <dgm:prSet presAssocID="{CFF36C7C-FD23-46E5-ADF5-DA7567A87A96}" presName="parentLin" presStyleCnt="0"/>
      <dgm:spPr/>
    </dgm:pt>
    <dgm:pt modelId="{8301DB15-65F7-4488-8052-048B80E79A0E}" type="pres">
      <dgm:prSet presAssocID="{CFF36C7C-FD23-46E5-ADF5-DA7567A87A96}" presName="parentLeftMargin" presStyleLbl="node1" presStyleIdx="0" presStyleCnt="5"/>
      <dgm:spPr/>
    </dgm:pt>
    <dgm:pt modelId="{11816462-3A77-4F2F-ACFC-3383CBF19E65}" type="pres">
      <dgm:prSet presAssocID="{CFF36C7C-FD23-46E5-ADF5-DA7567A87A96}" presName="parentText" presStyleLbl="node1" presStyleIdx="0" presStyleCnt="5" custScaleY="308302" custLinFactNeighborX="-6460" custLinFactNeighborY="18009">
        <dgm:presLayoutVars>
          <dgm:chMax val="0"/>
          <dgm:bulletEnabled val="1"/>
        </dgm:presLayoutVars>
      </dgm:prSet>
      <dgm:spPr/>
    </dgm:pt>
    <dgm:pt modelId="{F715CD99-13F4-4D84-9F45-E537F46F5355}" type="pres">
      <dgm:prSet presAssocID="{CFF36C7C-FD23-46E5-ADF5-DA7567A87A96}" presName="negativeSpace" presStyleCnt="0"/>
      <dgm:spPr/>
    </dgm:pt>
    <dgm:pt modelId="{4AB8D306-14B8-441C-B9E1-1D960DF81BB5}" type="pres">
      <dgm:prSet presAssocID="{CFF36C7C-FD23-46E5-ADF5-DA7567A87A96}" presName="childText" presStyleLbl="conFgAcc1" presStyleIdx="0" presStyleCnt="5">
        <dgm:presLayoutVars>
          <dgm:bulletEnabled val="1"/>
        </dgm:presLayoutVars>
      </dgm:prSet>
      <dgm:spPr/>
    </dgm:pt>
    <dgm:pt modelId="{D1A19D4A-FBC9-4987-9845-6D6125C6F185}" type="pres">
      <dgm:prSet presAssocID="{EBDEBFCA-1DA2-4800-9083-D8D4410B4E2A}" presName="spaceBetweenRectangles" presStyleCnt="0"/>
      <dgm:spPr/>
    </dgm:pt>
    <dgm:pt modelId="{4C7EB175-C566-454C-802B-5749D5026FB9}" type="pres">
      <dgm:prSet presAssocID="{A3C0D1DE-25B3-4977-800D-06BBE660D604}" presName="parentLin" presStyleCnt="0"/>
      <dgm:spPr/>
    </dgm:pt>
    <dgm:pt modelId="{1E7351F4-BBD8-4D7F-BF47-18383FF5A7F4}" type="pres">
      <dgm:prSet presAssocID="{A3C0D1DE-25B3-4977-800D-06BBE660D604}" presName="parentLeftMargin" presStyleLbl="node1" presStyleIdx="0" presStyleCnt="5"/>
      <dgm:spPr/>
    </dgm:pt>
    <dgm:pt modelId="{D10B4DBD-B475-4C45-9B23-28977747E910}" type="pres">
      <dgm:prSet presAssocID="{A3C0D1DE-25B3-4977-800D-06BBE660D604}" presName="parentText" presStyleLbl="node1" presStyleIdx="1" presStyleCnt="5" custScaleY="308302" custLinFactNeighborX="-6460" custLinFactNeighborY="18009">
        <dgm:presLayoutVars>
          <dgm:chMax val="0"/>
          <dgm:bulletEnabled val="1"/>
        </dgm:presLayoutVars>
      </dgm:prSet>
      <dgm:spPr/>
    </dgm:pt>
    <dgm:pt modelId="{7CE843D0-4C06-4540-AEB8-D0CB52952ACA}" type="pres">
      <dgm:prSet presAssocID="{A3C0D1DE-25B3-4977-800D-06BBE660D604}" presName="negativeSpace" presStyleCnt="0"/>
      <dgm:spPr/>
    </dgm:pt>
    <dgm:pt modelId="{164AFFD0-3675-4D32-A1EB-A7900D22F028}" type="pres">
      <dgm:prSet presAssocID="{A3C0D1DE-25B3-4977-800D-06BBE660D604}" presName="childText" presStyleLbl="conFgAcc1" presStyleIdx="1" presStyleCnt="5">
        <dgm:presLayoutVars>
          <dgm:bulletEnabled val="1"/>
        </dgm:presLayoutVars>
      </dgm:prSet>
      <dgm:spPr/>
    </dgm:pt>
    <dgm:pt modelId="{963D0E62-523A-465B-B80F-BBA71589D63F}" type="pres">
      <dgm:prSet presAssocID="{79CB0741-68BF-4E25-9721-F00E765FF8AB}" presName="spaceBetweenRectangles" presStyleCnt="0"/>
      <dgm:spPr/>
    </dgm:pt>
    <dgm:pt modelId="{D4DC44EE-3CE3-47BF-A430-4B8847EEED2D}" type="pres">
      <dgm:prSet presAssocID="{AD428CD1-53A3-474B-A0EE-7567ED082B2E}" presName="parentLin" presStyleCnt="0"/>
      <dgm:spPr/>
    </dgm:pt>
    <dgm:pt modelId="{7BDFB71D-25BE-4CEC-8300-1B95E390ACBA}" type="pres">
      <dgm:prSet presAssocID="{AD428CD1-53A3-474B-A0EE-7567ED082B2E}" presName="parentLeftMargin" presStyleLbl="node1" presStyleIdx="1" presStyleCnt="5"/>
      <dgm:spPr/>
    </dgm:pt>
    <dgm:pt modelId="{02C17B7A-6E7F-494D-9237-7300E115A185}" type="pres">
      <dgm:prSet presAssocID="{AD428CD1-53A3-474B-A0EE-7567ED082B2E}" presName="parentText" presStyleLbl="node1" presStyleIdx="2" presStyleCnt="5" custScaleY="308302" custLinFactNeighborX="-6460" custLinFactNeighborY="18009">
        <dgm:presLayoutVars>
          <dgm:chMax val="0"/>
          <dgm:bulletEnabled val="1"/>
        </dgm:presLayoutVars>
      </dgm:prSet>
      <dgm:spPr/>
    </dgm:pt>
    <dgm:pt modelId="{D9374202-5090-429C-AF8A-03743C2CB0CD}" type="pres">
      <dgm:prSet presAssocID="{AD428CD1-53A3-474B-A0EE-7567ED082B2E}" presName="negativeSpace" presStyleCnt="0"/>
      <dgm:spPr/>
    </dgm:pt>
    <dgm:pt modelId="{DB172173-224F-44CF-A3D9-8A4B5B89CB8B}" type="pres">
      <dgm:prSet presAssocID="{AD428CD1-53A3-474B-A0EE-7567ED082B2E}" presName="childText" presStyleLbl="conFgAcc1" presStyleIdx="2" presStyleCnt="5">
        <dgm:presLayoutVars>
          <dgm:bulletEnabled val="1"/>
        </dgm:presLayoutVars>
      </dgm:prSet>
      <dgm:spPr/>
    </dgm:pt>
    <dgm:pt modelId="{EF0E396E-4C7B-4DA2-A38E-BE79FF8CE226}" type="pres">
      <dgm:prSet presAssocID="{50C8B8F8-7D57-4F0E-863B-FCD3D54E1B66}" presName="spaceBetweenRectangles" presStyleCnt="0"/>
      <dgm:spPr/>
    </dgm:pt>
    <dgm:pt modelId="{E9FE2474-5A18-442E-828C-63BE5B1B2B8B}" type="pres">
      <dgm:prSet presAssocID="{5668E67C-4F1C-49DE-8A55-142C9619580E}" presName="parentLin" presStyleCnt="0"/>
      <dgm:spPr/>
    </dgm:pt>
    <dgm:pt modelId="{AAB5996F-C322-4D75-AC28-6BBC7A9B72A6}" type="pres">
      <dgm:prSet presAssocID="{5668E67C-4F1C-49DE-8A55-142C9619580E}" presName="parentLeftMargin" presStyleLbl="node1" presStyleIdx="2" presStyleCnt="5"/>
      <dgm:spPr/>
    </dgm:pt>
    <dgm:pt modelId="{A6FD5959-1496-4D13-A231-090E0D2C3656}" type="pres">
      <dgm:prSet presAssocID="{5668E67C-4F1C-49DE-8A55-142C9619580E}" presName="parentText" presStyleLbl="node1" presStyleIdx="3" presStyleCnt="5" custScaleY="308302" custLinFactNeighborX="-6460" custLinFactNeighborY="18009">
        <dgm:presLayoutVars>
          <dgm:chMax val="0"/>
          <dgm:bulletEnabled val="1"/>
        </dgm:presLayoutVars>
      </dgm:prSet>
      <dgm:spPr/>
    </dgm:pt>
    <dgm:pt modelId="{8E0045F5-7C32-4069-A8D7-A8C7172580FE}" type="pres">
      <dgm:prSet presAssocID="{5668E67C-4F1C-49DE-8A55-142C9619580E}" presName="negativeSpace" presStyleCnt="0"/>
      <dgm:spPr/>
    </dgm:pt>
    <dgm:pt modelId="{0CFF696B-3603-4537-8641-44825FC2F438}" type="pres">
      <dgm:prSet presAssocID="{5668E67C-4F1C-49DE-8A55-142C9619580E}" presName="childText" presStyleLbl="conFgAcc1" presStyleIdx="3" presStyleCnt="5">
        <dgm:presLayoutVars>
          <dgm:bulletEnabled val="1"/>
        </dgm:presLayoutVars>
      </dgm:prSet>
      <dgm:spPr/>
    </dgm:pt>
    <dgm:pt modelId="{F04F8930-7904-4B25-8AEB-06B87A54488B}" type="pres">
      <dgm:prSet presAssocID="{9C90AE46-D126-4162-A756-949AB5FEE10B}" presName="spaceBetweenRectangles" presStyleCnt="0"/>
      <dgm:spPr/>
    </dgm:pt>
    <dgm:pt modelId="{5402323A-07F5-4C80-A153-A9AF682D1934}" type="pres">
      <dgm:prSet presAssocID="{D0E0C34B-52F9-46A1-B125-7DECDDF548FF}" presName="parentLin" presStyleCnt="0"/>
      <dgm:spPr/>
    </dgm:pt>
    <dgm:pt modelId="{9FC083B3-5227-46BE-9B3E-4931EFAE0BCD}" type="pres">
      <dgm:prSet presAssocID="{D0E0C34B-52F9-46A1-B125-7DECDDF548FF}" presName="parentLeftMargin" presStyleLbl="node1" presStyleIdx="3" presStyleCnt="5"/>
      <dgm:spPr/>
    </dgm:pt>
    <dgm:pt modelId="{382E47BB-98B6-4E62-A8C4-00FAE8E503CE}" type="pres">
      <dgm:prSet presAssocID="{D0E0C34B-52F9-46A1-B125-7DECDDF548FF}" presName="parentText" presStyleLbl="node1" presStyleIdx="4" presStyleCnt="5" custScaleY="308302" custLinFactNeighborX="-6460" custLinFactNeighborY="18009">
        <dgm:presLayoutVars>
          <dgm:chMax val="0"/>
          <dgm:bulletEnabled val="1"/>
        </dgm:presLayoutVars>
      </dgm:prSet>
      <dgm:spPr/>
    </dgm:pt>
    <dgm:pt modelId="{C963A660-59F5-4642-8200-ADC29F7A9C1E}" type="pres">
      <dgm:prSet presAssocID="{D0E0C34B-52F9-46A1-B125-7DECDDF548FF}" presName="negativeSpace" presStyleCnt="0"/>
      <dgm:spPr/>
    </dgm:pt>
    <dgm:pt modelId="{D6404C03-BC0C-4765-A1A1-DD513A5CBADD}" type="pres">
      <dgm:prSet presAssocID="{D0E0C34B-52F9-46A1-B125-7DECDDF548FF}" presName="childText" presStyleLbl="conFgAcc1" presStyleIdx="4" presStyleCnt="5">
        <dgm:presLayoutVars>
          <dgm:bulletEnabled val="1"/>
        </dgm:presLayoutVars>
      </dgm:prSet>
      <dgm:spPr/>
    </dgm:pt>
  </dgm:ptLst>
  <dgm:cxnLst>
    <dgm:cxn modelId="{A794751B-B3E2-414B-902E-F483A47EFFB2}" type="presOf" srcId="{D0E0C34B-52F9-46A1-B125-7DECDDF548FF}" destId="{382E47BB-98B6-4E62-A8C4-00FAE8E503CE}" srcOrd="1" destOrd="0" presId="urn:microsoft.com/office/officeart/2005/8/layout/list1"/>
    <dgm:cxn modelId="{AF641621-3AD8-43EE-A501-3420425F2AC7}" type="presOf" srcId="{A3C0D1DE-25B3-4977-800D-06BBE660D604}" destId="{1E7351F4-BBD8-4D7F-BF47-18383FF5A7F4}" srcOrd="0" destOrd="0" presId="urn:microsoft.com/office/officeart/2005/8/layout/list1"/>
    <dgm:cxn modelId="{20EB1E30-F6F9-406D-8E8F-7E7F79C21021}" type="presOf" srcId="{CFF36C7C-FD23-46E5-ADF5-DA7567A87A96}" destId="{8301DB15-65F7-4488-8052-048B80E79A0E}" srcOrd="0" destOrd="0" presId="urn:microsoft.com/office/officeart/2005/8/layout/list1"/>
    <dgm:cxn modelId="{E4CD9B30-17FC-4E6F-8238-567E6B4F4A48}" srcId="{F44CC5B2-1E83-47BA-B9FB-04DB589880FA}" destId="{AD428CD1-53A3-474B-A0EE-7567ED082B2E}" srcOrd="2" destOrd="0" parTransId="{512FFE72-BE2E-4F58-8844-3886ADDAE790}" sibTransId="{50C8B8F8-7D57-4F0E-863B-FCD3D54E1B66}"/>
    <dgm:cxn modelId="{0A538F31-9856-4DA2-9BA4-8778A6A450F8}" type="presOf" srcId="{F44CC5B2-1E83-47BA-B9FB-04DB589880FA}" destId="{66560B6E-1C2C-43B2-A5A2-EE06521F9E03}" srcOrd="0" destOrd="0" presId="urn:microsoft.com/office/officeart/2005/8/layout/list1"/>
    <dgm:cxn modelId="{A4AA6A65-7CB1-4398-9CF5-C18244B85871}" type="presOf" srcId="{AD428CD1-53A3-474B-A0EE-7567ED082B2E}" destId="{7BDFB71D-25BE-4CEC-8300-1B95E390ACBA}" srcOrd="0" destOrd="0" presId="urn:microsoft.com/office/officeart/2005/8/layout/list1"/>
    <dgm:cxn modelId="{79DFDE52-9A82-4398-AE71-23804035637D}" type="presOf" srcId="{5668E67C-4F1C-49DE-8A55-142C9619580E}" destId="{A6FD5959-1496-4D13-A231-090E0D2C3656}" srcOrd="1" destOrd="0" presId="urn:microsoft.com/office/officeart/2005/8/layout/list1"/>
    <dgm:cxn modelId="{BD083D78-FAA7-46F9-85E0-E89B575DF6E8}" srcId="{F44CC5B2-1E83-47BA-B9FB-04DB589880FA}" destId="{CFF36C7C-FD23-46E5-ADF5-DA7567A87A96}" srcOrd="0" destOrd="0" parTransId="{51BCA522-4721-4BEE-8D32-20C2C2F8238B}" sibTransId="{EBDEBFCA-1DA2-4800-9083-D8D4410B4E2A}"/>
    <dgm:cxn modelId="{A3CE297E-5990-4690-9A0B-114DA467C531}" type="presOf" srcId="{CFF36C7C-FD23-46E5-ADF5-DA7567A87A96}" destId="{11816462-3A77-4F2F-ACFC-3383CBF19E65}" srcOrd="1" destOrd="0" presId="urn:microsoft.com/office/officeart/2005/8/layout/list1"/>
    <dgm:cxn modelId="{FE106386-82CF-4EAA-8120-FFF01680915E}" srcId="{F44CC5B2-1E83-47BA-B9FB-04DB589880FA}" destId="{5668E67C-4F1C-49DE-8A55-142C9619580E}" srcOrd="3" destOrd="0" parTransId="{AEA7BFB8-DFE4-4E26-9591-E702CA9CA092}" sibTransId="{9C90AE46-D126-4162-A756-949AB5FEE10B}"/>
    <dgm:cxn modelId="{83A09B9F-FA0C-4397-8CBC-7F31C0AEB6D8}" srcId="{F44CC5B2-1E83-47BA-B9FB-04DB589880FA}" destId="{D0E0C34B-52F9-46A1-B125-7DECDDF548FF}" srcOrd="4" destOrd="0" parTransId="{772A069C-9631-427C-A2AF-839401DDD14D}" sibTransId="{167A1B68-C308-4834-829F-9944C8B3823A}"/>
    <dgm:cxn modelId="{060ABAC9-4B24-4CF6-9DC2-ED97B76B6E1E}" srcId="{F44CC5B2-1E83-47BA-B9FB-04DB589880FA}" destId="{A3C0D1DE-25B3-4977-800D-06BBE660D604}" srcOrd="1" destOrd="0" parTransId="{72A0D72C-BA1A-410E-AD8A-D40E1CA952EA}" sibTransId="{79CB0741-68BF-4E25-9721-F00E765FF8AB}"/>
    <dgm:cxn modelId="{7CC38CCC-6D5D-4AC5-8AB6-F3B9F604D4A1}" type="presOf" srcId="{AD428CD1-53A3-474B-A0EE-7567ED082B2E}" destId="{02C17B7A-6E7F-494D-9237-7300E115A185}" srcOrd="1" destOrd="0" presId="urn:microsoft.com/office/officeart/2005/8/layout/list1"/>
    <dgm:cxn modelId="{67E34BD1-7EE8-45AE-B98E-17B3959A5561}" type="presOf" srcId="{A3C0D1DE-25B3-4977-800D-06BBE660D604}" destId="{D10B4DBD-B475-4C45-9B23-28977747E910}" srcOrd="1" destOrd="0" presId="urn:microsoft.com/office/officeart/2005/8/layout/list1"/>
    <dgm:cxn modelId="{D7B721E8-380B-4FB7-A8E1-E1101FFD347A}" type="presOf" srcId="{5668E67C-4F1C-49DE-8A55-142C9619580E}" destId="{AAB5996F-C322-4D75-AC28-6BBC7A9B72A6}" srcOrd="0" destOrd="0" presId="urn:microsoft.com/office/officeart/2005/8/layout/list1"/>
    <dgm:cxn modelId="{5CC23EED-202A-46F1-BD21-E865A0B13705}" type="presOf" srcId="{D0E0C34B-52F9-46A1-B125-7DECDDF548FF}" destId="{9FC083B3-5227-46BE-9B3E-4931EFAE0BCD}" srcOrd="0" destOrd="0" presId="urn:microsoft.com/office/officeart/2005/8/layout/list1"/>
    <dgm:cxn modelId="{ABE82E84-6ED7-4790-83AF-5115F83A0D53}" type="presParOf" srcId="{66560B6E-1C2C-43B2-A5A2-EE06521F9E03}" destId="{B0DAA5DB-AA48-4A23-ACEF-92F3E2EF4604}" srcOrd="0" destOrd="0" presId="urn:microsoft.com/office/officeart/2005/8/layout/list1"/>
    <dgm:cxn modelId="{68C75215-2D52-4EE5-A383-9A51860D4451}" type="presParOf" srcId="{B0DAA5DB-AA48-4A23-ACEF-92F3E2EF4604}" destId="{8301DB15-65F7-4488-8052-048B80E79A0E}" srcOrd="0" destOrd="0" presId="urn:microsoft.com/office/officeart/2005/8/layout/list1"/>
    <dgm:cxn modelId="{8BA6E0FA-9C18-4C69-B0A1-B566B8E3752F}" type="presParOf" srcId="{B0DAA5DB-AA48-4A23-ACEF-92F3E2EF4604}" destId="{11816462-3A77-4F2F-ACFC-3383CBF19E65}" srcOrd="1" destOrd="0" presId="urn:microsoft.com/office/officeart/2005/8/layout/list1"/>
    <dgm:cxn modelId="{A71C5723-4060-445E-96A7-A87D0DFA02F5}" type="presParOf" srcId="{66560B6E-1C2C-43B2-A5A2-EE06521F9E03}" destId="{F715CD99-13F4-4D84-9F45-E537F46F5355}" srcOrd="1" destOrd="0" presId="urn:microsoft.com/office/officeart/2005/8/layout/list1"/>
    <dgm:cxn modelId="{6A6468B6-195A-432C-9014-43779BB5B0AC}" type="presParOf" srcId="{66560B6E-1C2C-43B2-A5A2-EE06521F9E03}" destId="{4AB8D306-14B8-441C-B9E1-1D960DF81BB5}" srcOrd="2" destOrd="0" presId="urn:microsoft.com/office/officeart/2005/8/layout/list1"/>
    <dgm:cxn modelId="{665C90C8-8C45-43F8-BD41-90703DBB2DB1}" type="presParOf" srcId="{66560B6E-1C2C-43B2-A5A2-EE06521F9E03}" destId="{D1A19D4A-FBC9-4987-9845-6D6125C6F185}" srcOrd="3" destOrd="0" presId="urn:microsoft.com/office/officeart/2005/8/layout/list1"/>
    <dgm:cxn modelId="{92805EDF-B1C0-4BBF-8778-8BE49F99DC54}" type="presParOf" srcId="{66560B6E-1C2C-43B2-A5A2-EE06521F9E03}" destId="{4C7EB175-C566-454C-802B-5749D5026FB9}" srcOrd="4" destOrd="0" presId="urn:microsoft.com/office/officeart/2005/8/layout/list1"/>
    <dgm:cxn modelId="{FCE3F18E-EDA9-496B-8F95-656DD797F257}" type="presParOf" srcId="{4C7EB175-C566-454C-802B-5749D5026FB9}" destId="{1E7351F4-BBD8-4D7F-BF47-18383FF5A7F4}" srcOrd="0" destOrd="0" presId="urn:microsoft.com/office/officeart/2005/8/layout/list1"/>
    <dgm:cxn modelId="{BEC5CB31-7B12-4E40-9B1E-5B117B38F80C}" type="presParOf" srcId="{4C7EB175-C566-454C-802B-5749D5026FB9}" destId="{D10B4DBD-B475-4C45-9B23-28977747E910}" srcOrd="1" destOrd="0" presId="urn:microsoft.com/office/officeart/2005/8/layout/list1"/>
    <dgm:cxn modelId="{3D1B9E10-9137-4B35-96CB-80320DC954B5}" type="presParOf" srcId="{66560B6E-1C2C-43B2-A5A2-EE06521F9E03}" destId="{7CE843D0-4C06-4540-AEB8-D0CB52952ACA}" srcOrd="5" destOrd="0" presId="urn:microsoft.com/office/officeart/2005/8/layout/list1"/>
    <dgm:cxn modelId="{15E74DFF-93A1-4F14-A9F5-74C001E9F51F}" type="presParOf" srcId="{66560B6E-1C2C-43B2-A5A2-EE06521F9E03}" destId="{164AFFD0-3675-4D32-A1EB-A7900D22F028}" srcOrd="6" destOrd="0" presId="urn:microsoft.com/office/officeart/2005/8/layout/list1"/>
    <dgm:cxn modelId="{F757BF69-9E62-4C6E-BBC2-7578DF727C6F}" type="presParOf" srcId="{66560B6E-1C2C-43B2-A5A2-EE06521F9E03}" destId="{963D0E62-523A-465B-B80F-BBA71589D63F}" srcOrd="7" destOrd="0" presId="urn:microsoft.com/office/officeart/2005/8/layout/list1"/>
    <dgm:cxn modelId="{FDF25D53-EEF4-4075-AA0B-D2CB6D1B49F3}" type="presParOf" srcId="{66560B6E-1C2C-43B2-A5A2-EE06521F9E03}" destId="{D4DC44EE-3CE3-47BF-A430-4B8847EEED2D}" srcOrd="8" destOrd="0" presId="urn:microsoft.com/office/officeart/2005/8/layout/list1"/>
    <dgm:cxn modelId="{F7D85AFB-0BAC-4BC4-B558-BD67339B5BDB}" type="presParOf" srcId="{D4DC44EE-3CE3-47BF-A430-4B8847EEED2D}" destId="{7BDFB71D-25BE-4CEC-8300-1B95E390ACBA}" srcOrd="0" destOrd="0" presId="urn:microsoft.com/office/officeart/2005/8/layout/list1"/>
    <dgm:cxn modelId="{709B6CB8-5709-4599-8143-29AF5ECD96B5}" type="presParOf" srcId="{D4DC44EE-3CE3-47BF-A430-4B8847EEED2D}" destId="{02C17B7A-6E7F-494D-9237-7300E115A185}" srcOrd="1" destOrd="0" presId="urn:microsoft.com/office/officeart/2005/8/layout/list1"/>
    <dgm:cxn modelId="{DD378703-FD99-4445-94C6-4E728FC11F76}" type="presParOf" srcId="{66560B6E-1C2C-43B2-A5A2-EE06521F9E03}" destId="{D9374202-5090-429C-AF8A-03743C2CB0CD}" srcOrd="9" destOrd="0" presId="urn:microsoft.com/office/officeart/2005/8/layout/list1"/>
    <dgm:cxn modelId="{586071D6-1243-4C4D-92E3-5C296D30E6AC}" type="presParOf" srcId="{66560B6E-1C2C-43B2-A5A2-EE06521F9E03}" destId="{DB172173-224F-44CF-A3D9-8A4B5B89CB8B}" srcOrd="10" destOrd="0" presId="urn:microsoft.com/office/officeart/2005/8/layout/list1"/>
    <dgm:cxn modelId="{A417DEA9-DF95-4E3E-BC7B-FB72AF6C3892}" type="presParOf" srcId="{66560B6E-1C2C-43B2-A5A2-EE06521F9E03}" destId="{EF0E396E-4C7B-4DA2-A38E-BE79FF8CE226}" srcOrd="11" destOrd="0" presId="urn:microsoft.com/office/officeart/2005/8/layout/list1"/>
    <dgm:cxn modelId="{A6044EB9-069A-42F9-8840-B918BC075751}" type="presParOf" srcId="{66560B6E-1C2C-43B2-A5A2-EE06521F9E03}" destId="{E9FE2474-5A18-442E-828C-63BE5B1B2B8B}" srcOrd="12" destOrd="0" presId="urn:microsoft.com/office/officeart/2005/8/layout/list1"/>
    <dgm:cxn modelId="{6139CFBE-3E2B-42D3-9B8C-D849AAE4B296}" type="presParOf" srcId="{E9FE2474-5A18-442E-828C-63BE5B1B2B8B}" destId="{AAB5996F-C322-4D75-AC28-6BBC7A9B72A6}" srcOrd="0" destOrd="0" presId="urn:microsoft.com/office/officeart/2005/8/layout/list1"/>
    <dgm:cxn modelId="{D3546CCB-962F-4AE2-B2FE-F178D876B4A0}" type="presParOf" srcId="{E9FE2474-5A18-442E-828C-63BE5B1B2B8B}" destId="{A6FD5959-1496-4D13-A231-090E0D2C3656}" srcOrd="1" destOrd="0" presId="urn:microsoft.com/office/officeart/2005/8/layout/list1"/>
    <dgm:cxn modelId="{00E59411-9A83-41CD-A5FE-58F80BDC2BDA}" type="presParOf" srcId="{66560B6E-1C2C-43B2-A5A2-EE06521F9E03}" destId="{8E0045F5-7C32-4069-A8D7-A8C7172580FE}" srcOrd="13" destOrd="0" presId="urn:microsoft.com/office/officeart/2005/8/layout/list1"/>
    <dgm:cxn modelId="{BB67A15A-8903-4D00-B360-753DE72AEB2E}" type="presParOf" srcId="{66560B6E-1C2C-43B2-A5A2-EE06521F9E03}" destId="{0CFF696B-3603-4537-8641-44825FC2F438}" srcOrd="14" destOrd="0" presId="urn:microsoft.com/office/officeart/2005/8/layout/list1"/>
    <dgm:cxn modelId="{A5C58D6A-1691-4560-86CB-291A41A45936}" type="presParOf" srcId="{66560B6E-1C2C-43B2-A5A2-EE06521F9E03}" destId="{F04F8930-7904-4B25-8AEB-06B87A54488B}" srcOrd="15" destOrd="0" presId="urn:microsoft.com/office/officeart/2005/8/layout/list1"/>
    <dgm:cxn modelId="{89C55244-51AD-4137-9946-66849A226046}" type="presParOf" srcId="{66560B6E-1C2C-43B2-A5A2-EE06521F9E03}" destId="{5402323A-07F5-4C80-A153-A9AF682D1934}" srcOrd="16" destOrd="0" presId="urn:microsoft.com/office/officeart/2005/8/layout/list1"/>
    <dgm:cxn modelId="{666199EE-0309-4CE9-9CC4-178B6953C218}" type="presParOf" srcId="{5402323A-07F5-4C80-A153-A9AF682D1934}" destId="{9FC083B3-5227-46BE-9B3E-4931EFAE0BCD}" srcOrd="0" destOrd="0" presId="urn:microsoft.com/office/officeart/2005/8/layout/list1"/>
    <dgm:cxn modelId="{45C45FC3-4061-4829-A180-9F79EDD19873}" type="presParOf" srcId="{5402323A-07F5-4C80-A153-A9AF682D1934}" destId="{382E47BB-98B6-4E62-A8C4-00FAE8E503CE}" srcOrd="1" destOrd="0" presId="urn:microsoft.com/office/officeart/2005/8/layout/list1"/>
    <dgm:cxn modelId="{7915350F-7A60-4A9A-BC67-4DACDCF825B4}" type="presParOf" srcId="{66560B6E-1C2C-43B2-A5A2-EE06521F9E03}" destId="{C963A660-59F5-4642-8200-ADC29F7A9C1E}" srcOrd="17" destOrd="0" presId="urn:microsoft.com/office/officeart/2005/8/layout/list1"/>
    <dgm:cxn modelId="{17230967-32E2-48AA-891E-91195E28820B}" type="presParOf" srcId="{66560B6E-1C2C-43B2-A5A2-EE06521F9E03}" destId="{D6404C03-BC0C-4765-A1A1-DD513A5CBADD}" srcOrd="18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9003ACB-7B57-4782-AE34-6F99BF447E38}" type="doc">
      <dgm:prSet loTypeId="urn:microsoft.com/office/officeart/2005/8/layout/hierarchy2" loCatId="hierarchy" qsTypeId="urn:microsoft.com/office/officeart/2005/8/quickstyle/simple2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7F3F17D2-2F28-456F-B6FD-C3B46CA0D9E9}">
      <dgm:prSet phldrT="[Текст]" custT="1"/>
      <dgm:spPr/>
      <dgm:t>
        <a:bodyPr/>
        <a:lstStyle/>
        <a:p>
          <a:r>
            <a:rPr lang="ru-RU" sz="2000" dirty="0"/>
            <a:t>Учет ОУ, ОД, </a:t>
          </a:r>
          <a:r>
            <a:rPr lang="en-US" sz="2000" dirty="0"/>
            <a:t>NM</a:t>
          </a:r>
          <a:endParaRPr lang="ru-RU" sz="2000" dirty="0"/>
        </a:p>
      </dgm:t>
    </dgm:pt>
    <dgm:pt modelId="{62A61F7D-53A1-4DCB-8B9D-FA53219F6D61}" type="parTrans" cxnId="{5C285E4F-A326-4A36-AF47-0108A66314BD}">
      <dgm:prSet custT="1"/>
      <dgm:spPr/>
      <dgm:t>
        <a:bodyPr/>
        <a:lstStyle/>
        <a:p>
          <a:endParaRPr lang="ru-RU" sz="1000"/>
        </a:p>
      </dgm:t>
    </dgm:pt>
    <dgm:pt modelId="{C4942828-CE0E-4C15-B350-545E234D0FE6}" type="sibTrans" cxnId="{5C285E4F-A326-4A36-AF47-0108A66314BD}">
      <dgm:prSet/>
      <dgm:spPr/>
      <dgm:t>
        <a:bodyPr/>
        <a:lstStyle/>
        <a:p>
          <a:endParaRPr lang="ru-RU" sz="2800"/>
        </a:p>
      </dgm:t>
    </dgm:pt>
    <dgm:pt modelId="{1EF09289-59FF-4A49-A434-29E00CF2731A}">
      <dgm:prSet phldrT="[Текст]" custT="1"/>
      <dgm:spPr/>
      <dgm:t>
        <a:bodyPr/>
        <a:lstStyle/>
        <a:p>
          <a:r>
            <a:rPr lang="ru-RU" sz="2000" dirty="0"/>
            <a:t>Проведение внутренних расследований</a:t>
          </a:r>
        </a:p>
      </dgm:t>
    </dgm:pt>
    <dgm:pt modelId="{01C4677B-3DF3-4CE2-87BB-EB26559C6C06}" type="parTrans" cxnId="{6921A3DC-077F-47EB-85CF-F19A151D264B}">
      <dgm:prSet custT="1"/>
      <dgm:spPr/>
      <dgm:t>
        <a:bodyPr/>
        <a:lstStyle/>
        <a:p>
          <a:endParaRPr lang="ru-RU" sz="800"/>
        </a:p>
      </dgm:t>
    </dgm:pt>
    <dgm:pt modelId="{25426E6F-8EF1-4CA9-A01B-120E751367CB}" type="sibTrans" cxnId="{6921A3DC-077F-47EB-85CF-F19A151D264B}">
      <dgm:prSet/>
      <dgm:spPr/>
      <dgm:t>
        <a:bodyPr/>
        <a:lstStyle/>
        <a:p>
          <a:endParaRPr lang="ru-RU" sz="2800"/>
        </a:p>
      </dgm:t>
    </dgm:pt>
    <dgm:pt modelId="{63060304-479D-41AF-A716-5D093E44A039}">
      <dgm:prSet phldrT="[Текст]" custT="1"/>
      <dgm:spPr/>
      <dgm:t>
        <a:bodyPr/>
        <a:lstStyle/>
        <a:p>
          <a:r>
            <a:rPr lang="ru-RU" sz="2000" dirty="0"/>
            <a:t>Проведение и учет проверок</a:t>
          </a:r>
        </a:p>
      </dgm:t>
    </dgm:pt>
    <dgm:pt modelId="{06818301-07A6-4D66-ADB7-A4E28FB556A5}" type="parTrans" cxnId="{96048BD6-5C62-4001-9041-7A37169D3ED3}">
      <dgm:prSet custT="1"/>
      <dgm:spPr/>
      <dgm:t>
        <a:bodyPr/>
        <a:lstStyle/>
        <a:p>
          <a:endParaRPr lang="ru-RU" sz="1000"/>
        </a:p>
      </dgm:t>
    </dgm:pt>
    <dgm:pt modelId="{C6512316-3DB3-4763-8F03-507965BCA481}" type="sibTrans" cxnId="{96048BD6-5C62-4001-9041-7A37169D3ED3}">
      <dgm:prSet/>
      <dgm:spPr/>
      <dgm:t>
        <a:bodyPr/>
        <a:lstStyle/>
        <a:p>
          <a:endParaRPr lang="ru-RU" sz="2800"/>
        </a:p>
      </dgm:t>
    </dgm:pt>
    <dgm:pt modelId="{9D045C2A-D8CA-4F8D-8427-E40140A01D37}">
      <dgm:prSet phldrT="[Текст]" custT="1"/>
      <dgm:spPr/>
      <dgm:t>
        <a:bodyPr/>
        <a:lstStyle/>
        <a:p>
          <a:r>
            <a:rPr lang="ru-RU" sz="2000" dirty="0"/>
            <a:t>Контроль за деятельностью подрядных организаций</a:t>
          </a:r>
        </a:p>
      </dgm:t>
    </dgm:pt>
    <dgm:pt modelId="{F452FDD7-CEB9-4EEA-B47D-51B7E83B2FCD}" type="parTrans" cxnId="{191A7CE8-65BE-43E0-A4DE-C9BD8E5EA001}">
      <dgm:prSet/>
      <dgm:spPr/>
      <dgm:t>
        <a:bodyPr/>
        <a:lstStyle/>
        <a:p>
          <a:endParaRPr lang="ru-RU" sz="2800"/>
        </a:p>
      </dgm:t>
    </dgm:pt>
    <dgm:pt modelId="{C735A0BC-56F2-4D5B-A8B0-3CD090616DF3}" type="sibTrans" cxnId="{191A7CE8-65BE-43E0-A4DE-C9BD8E5EA001}">
      <dgm:prSet/>
      <dgm:spPr/>
      <dgm:t>
        <a:bodyPr/>
        <a:lstStyle/>
        <a:p>
          <a:endParaRPr lang="ru-RU" sz="2800"/>
        </a:p>
      </dgm:t>
    </dgm:pt>
    <dgm:pt modelId="{B8540430-4F8B-42E0-87CA-F3EE47A8CEE9}">
      <dgm:prSet phldrT="[Текст]" custT="1"/>
      <dgm:spPr/>
      <dgm:t>
        <a:bodyPr/>
        <a:lstStyle/>
        <a:p>
          <a:r>
            <a:rPr lang="ru-RU" sz="2000" dirty="0"/>
            <a:t>Учет применения СТОП-карт</a:t>
          </a:r>
        </a:p>
      </dgm:t>
    </dgm:pt>
    <dgm:pt modelId="{701DB339-5FD6-4C04-9B23-B64C1F0A7DE0}" type="parTrans" cxnId="{641107C5-DE91-4F56-AA61-1A75FD0474E7}">
      <dgm:prSet custT="1"/>
      <dgm:spPr/>
      <dgm:t>
        <a:bodyPr/>
        <a:lstStyle/>
        <a:p>
          <a:endParaRPr lang="ru-RU" sz="800"/>
        </a:p>
      </dgm:t>
    </dgm:pt>
    <dgm:pt modelId="{84AEB7CB-D8A0-4004-9836-CC6DDE57B8B6}" type="sibTrans" cxnId="{641107C5-DE91-4F56-AA61-1A75FD0474E7}">
      <dgm:prSet/>
      <dgm:spPr/>
      <dgm:t>
        <a:bodyPr/>
        <a:lstStyle/>
        <a:p>
          <a:endParaRPr lang="ru-RU" sz="2800"/>
        </a:p>
      </dgm:t>
    </dgm:pt>
    <dgm:pt modelId="{6B1A3F05-3319-430A-B269-1077E915B62D}">
      <dgm:prSet phldrT="[Текст]" custT="1"/>
      <dgm:spPr/>
      <dgm:t>
        <a:bodyPr/>
        <a:lstStyle/>
        <a:p>
          <a:r>
            <a:rPr lang="ru-RU" sz="2000" dirty="0"/>
            <a:t>Учет проведенных ПАБ</a:t>
          </a:r>
        </a:p>
      </dgm:t>
    </dgm:pt>
    <dgm:pt modelId="{1C5D596C-507B-4557-8B88-B2F190887105}" type="parTrans" cxnId="{6E7DCB8F-AB5A-468E-8D8C-C382C1983146}">
      <dgm:prSet custT="1"/>
      <dgm:spPr/>
      <dgm:t>
        <a:bodyPr/>
        <a:lstStyle/>
        <a:p>
          <a:endParaRPr lang="ru-RU" sz="800"/>
        </a:p>
      </dgm:t>
    </dgm:pt>
    <dgm:pt modelId="{89650286-A5BC-4A1D-A4F5-CC052BB44AFB}" type="sibTrans" cxnId="{6E7DCB8F-AB5A-468E-8D8C-C382C1983146}">
      <dgm:prSet/>
      <dgm:spPr/>
      <dgm:t>
        <a:bodyPr/>
        <a:lstStyle/>
        <a:p>
          <a:endParaRPr lang="ru-RU" sz="2800"/>
        </a:p>
      </dgm:t>
    </dgm:pt>
    <dgm:pt modelId="{D21F65AC-68CC-40B8-AB1C-71835F233A7F}" type="pres">
      <dgm:prSet presAssocID="{09003ACB-7B57-4782-AE34-6F99BF447E3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C8493CDC-ED2D-4B9E-A19E-64D8AC0E6BED}" type="pres">
      <dgm:prSet presAssocID="{9D045C2A-D8CA-4F8D-8427-E40140A01D37}" presName="root1" presStyleCnt="0"/>
      <dgm:spPr/>
    </dgm:pt>
    <dgm:pt modelId="{8D54B748-D138-4A95-BBD9-9A3E2F0558FF}" type="pres">
      <dgm:prSet presAssocID="{9D045C2A-D8CA-4F8D-8427-E40140A01D37}" presName="LevelOneTextNode" presStyleLbl="node0" presStyleIdx="0" presStyleCnt="1" custScaleX="156875" custScaleY="136340">
        <dgm:presLayoutVars>
          <dgm:chPref val="3"/>
        </dgm:presLayoutVars>
      </dgm:prSet>
      <dgm:spPr/>
    </dgm:pt>
    <dgm:pt modelId="{DBE84A84-9B32-4182-A2A7-99096578D566}" type="pres">
      <dgm:prSet presAssocID="{9D045C2A-D8CA-4F8D-8427-E40140A01D37}" presName="level2hierChild" presStyleCnt="0"/>
      <dgm:spPr/>
    </dgm:pt>
    <dgm:pt modelId="{4BA3036D-F178-40AC-A9F3-6540FD725A9C}" type="pres">
      <dgm:prSet presAssocID="{62A61F7D-53A1-4DCB-8B9D-FA53219F6D61}" presName="conn2-1" presStyleLbl="parChTrans1D2" presStyleIdx="0" presStyleCnt="5"/>
      <dgm:spPr/>
    </dgm:pt>
    <dgm:pt modelId="{2D6B5A54-7491-45EE-9038-AFE5CB904293}" type="pres">
      <dgm:prSet presAssocID="{62A61F7D-53A1-4DCB-8B9D-FA53219F6D61}" presName="connTx" presStyleLbl="parChTrans1D2" presStyleIdx="0" presStyleCnt="5"/>
      <dgm:spPr/>
    </dgm:pt>
    <dgm:pt modelId="{A26E91D6-013D-4B59-8A0C-7FF05E5CBB40}" type="pres">
      <dgm:prSet presAssocID="{7F3F17D2-2F28-456F-B6FD-C3B46CA0D9E9}" presName="root2" presStyleCnt="0"/>
      <dgm:spPr/>
    </dgm:pt>
    <dgm:pt modelId="{43F38E44-0C76-44A7-A47E-C1FE71215600}" type="pres">
      <dgm:prSet presAssocID="{7F3F17D2-2F28-456F-B6FD-C3B46CA0D9E9}" presName="LevelTwoTextNode" presStyleLbl="node2" presStyleIdx="0" presStyleCnt="5">
        <dgm:presLayoutVars>
          <dgm:chPref val="3"/>
        </dgm:presLayoutVars>
      </dgm:prSet>
      <dgm:spPr/>
    </dgm:pt>
    <dgm:pt modelId="{42C488AD-651D-4CE3-B245-C8BD8C607F64}" type="pres">
      <dgm:prSet presAssocID="{7F3F17D2-2F28-456F-B6FD-C3B46CA0D9E9}" presName="level3hierChild" presStyleCnt="0"/>
      <dgm:spPr/>
    </dgm:pt>
    <dgm:pt modelId="{859E2723-F93C-4827-B9AC-A80140658D65}" type="pres">
      <dgm:prSet presAssocID="{701DB339-5FD6-4C04-9B23-B64C1F0A7DE0}" presName="conn2-1" presStyleLbl="parChTrans1D2" presStyleIdx="1" presStyleCnt="5"/>
      <dgm:spPr/>
    </dgm:pt>
    <dgm:pt modelId="{1600F4D0-DC3B-4DB7-A9F1-26450E647897}" type="pres">
      <dgm:prSet presAssocID="{701DB339-5FD6-4C04-9B23-B64C1F0A7DE0}" presName="connTx" presStyleLbl="parChTrans1D2" presStyleIdx="1" presStyleCnt="5"/>
      <dgm:spPr/>
    </dgm:pt>
    <dgm:pt modelId="{C2B0A1CD-ED04-4E96-A514-70ED1A897E08}" type="pres">
      <dgm:prSet presAssocID="{B8540430-4F8B-42E0-87CA-F3EE47A8CEE9}" presName="root2" presStyleCnt="0"/>
      <dgm:spPr/>
    </dgm:pt>
    <dgm:pt modelId="{03B1A58D-DE78-4FCB-9C73-AFB25021E2AC}" type="pres">
      <dgm:prSet presAssocID="{B8540430-4F8B-42E0-87CA-F3EE47A8CEE9}" presName="LevelTwoTextNode" presStyleLbl="node2" presStyleIdx="1" presStyleCnt="5">
        <dgm:presLayoutVars>
          <dgm:chPref val="3"/>
        </dgm:presLayoutVars>
      </dgm:prSet>
      <dgm:spPr/>
    </dgm:pt>
    <dgm:pt modelId="{57D6E4C0-022A-4FD8-9B27-8DAEA107D4AD}" type="pres">
      <dgm:prSet presAssocID="{B8540430-4F8B-42E0-87CA-F3EE47A8CEE9}" presName="level3hierChild" presStyleCnt="0"/>
      <dgm:spPr/>
    </dgm:pt>
    <dgm:pt modelId="{50F97A67-D6EB-486B-80B3-F4E92692A63E}" type="pres">
      <dgm:prSet presAssocID="{1C5D596C-507B-4557-8B88-B2F190887105}" presName="conn2-1" presStyleLbl="parChTrans1D2" presStyleIdx="2" presStyleCnt="5"/>
      <dgm:spPr/>
    </dgm:pt>
    <dgm:pt modelId="{0E1E96B4-201E-4C10-978F-5D202AB236A4}" type="pres">
      <dgm:prSet presAssocID="{1C5D596C-507B-4557-8B88-B2F190887105}" presName="connTx" presStyleLbl="parChTrans1D2" presStyleIdx="2" presStyleCnt="5"/>
      <dgm:spPr/>
    </dgm:pt>
    <dgm:pt modelId="{F85548FD-F397-44F4-9F6E-7768414D58CA}" type="pres">
      <dgm:prSet presAssocID="{6B1A3F05-3319-430A-B269-1077E915B62D}" presName="root2" presStyleCnt="0"/>
      <dgm:spPr/>
    </dgm:pt>
    <dgm:pt modelId="{899EE3E4-D10B-4D3C-8EB8-E1704A0A63EC}" type="pres">
      <dgm:prSet presAssocID="{6B1A3F05-3319-430A-B269-1077E915B62D}" presName="LevelTwoTextNode" presStyleLbl="node2" presStyleIdx="2" presStyleCnt="5">
        <dgm:presLayoutVars>
          <dgm:chPref val="3"/>
        </dgm:presLayoutVars>
      </dgm:prSet>
      <dgm:spPr/>
    </dgm:pt>
    <dgm:pt modelId="{E9B18363-CEDC-4708-B330-776B1DF7BD1C}" type="pres">
      <dgm:prSet presAssocID="{6B1A3F05-3319-430A-B269-1077E915B62D}" presName="level3hierChild" presStyleCnt="0"/>
      <dgm:spPr/>
    </dgm:pt>
    <dgm:pt modelId="{BA2D9B3A-84BF-4132-B575-2E54EF222BB1}" type="pres">
      <dgm:prSet presAssocID="{01C4677B-3DF3-4CE2-87BB-EB26559C6C06}" presName="conn2-1" presStyleLbl="parChTrans1D2" presStyleIdx="3" presStyleCnt="5"/>
      <dgm:spPr/>
    </dgm:pt>
    <dgm:pt modelId="{017F464F-ACF8-4FE2-833E-F99F3A901C97}" type="pres">
      <dgm:prSet presAssocID="{01C4677B-3DF3-4CE2-87BB-EB26559C6C06}" presName="connTx" presStyleLbl="parChTrans1D2" presStyleIdx="3" presStyleCnt="5"/>
      <dgm:spPr/>
    </dgm:pt>
    <dgm:pt modelId="{FCB9EEAF-0788-4FB4-B2D9-E00911A18E94}" type="pres">
      <dgm:prSet presAssocID="{1EF09289-59FF-4A49-A434-29E00CF2731A}" presName="root2" presStyleCnt="0"/>
      <dgm:spPr/>
    </dgm:pt>
    <dgm:pt modelId="{15DEFE25-3D6E-4D59-9EB0-2CE543B05CFE}" type="pres">
      <dgm:prSet presAssocID="{1EF09289-59FF-4A49-A434-29E00CF2731A}" presName="LevelTwoTextNode" presStyleLbl="node2" presStyleIdx="3" presStyleCnt="5">
        <dgm:presLayoutVars>
          <dgm:chPref val="3"/>
        </dgm:presLayoutVars>
      </dgm:prSet>
      <dgm:spPr/>
    </dgm:pt>
    <dgm:pt modelId="{2FACCCAB-6CAA-4635-A390-901DDE19ADA9}" type="pres">
      <dgm:prSet presAssocID="{1EF09289-59FF-4A49-A434-29E00CF2731A}" presName="level3hierChild" presStyleCnt="0"/>
      <dgm:spPr/>
    </dgm:pt>
    <dgm:pt modelId="{A5144E78-1D98-47CD-9B88-5EB6A99BCFD1}" type="pres">
      <dgm:prSet presAssocID="{06818301-07A6-4D66-ADB7-A4E28FB556A5}" presName="conn2-1" presStyleLbl="parChTrans1D2" presStyleIdx="4" presStyleCnt="5"/>
      <dgm:spPr/>
    </dgm:pt>
    <dgm:pt modelId="{C9A794BC-DE80-4468-8A47-F854AD7359FF}" type="pres">
      <dgm:prSet presAssocID="{06818301-07A6-4D66-ADB7-A4E28FB556A5}" presName="connTx" presStyleLbl="parChTrans1D2" presStyleIdx="4" presStyleCnt="5"/>
      <dgm:spPr/>
    </dgm:pt>
    <dgm:pt modelId="{0DFE6C85-2913-41C6-95DE-157CA25FCDEA}" type="pres">
      <dgm:prSet presAssocID="{63060304-479D-41AF-A716-5D093E44A039}" presName="root2" presStyleCnt="0"/>
      <dgm:spPr/>
    </dgm:pt>
    <dgm:pt modelId="{94B9BDB7-C7B5-4A08-85B3-EDE640582074}" type="pres">
      <dgm:prSet presAssocID="{63060304-479D-41AF-A716-5D093E44A039}" presName="LevelTwoTextNode" presStyleLbl="node2" presStyleIdx="4" presStyleCnt="5">
        <dgm:presLayoutVars>
          <dgm:chPref val="3"/>
        </dgm:presLayoutVars>
      </dgm:prSet>
      <dgm:spPr/>
    </dgm:pt>
    <dgm:pt modelId="{A03E7564-8253-41C8-9863-39A4A93D2B2F}" type="pres">
      <dgm:prSet presAssocID="{63060304-479D-41AF-A716-5D093E44A039}" presName="level3hierChild" presStyleCnt="0"/>
      <dgm:spPr/>
    </dgm:pt>
  </dgm:ptLst>
  <dgm:cxnLst>
    <dgm:cxn modelId="{7A1E9A03-5586-41B2-B33B-68BE8DFB698E}" type="presOf" srcId="{701DB339-5FD6-4C04-9B23-B64C1F0A7DE0}" destId="{1600F4D0-DC3B-4DB7-A9F1-26450E647897}" srcOrd="1" destOrd="0" presId="urn:microsoft.com/office/officeart/2005/8/layout/hierarchy2"/>
    <dgm:cxn modelId="{6331090B-CD53-48A4-B813-091A377676A9}" type="presOf" srcId="{9D045C2A-D8CA-4F8D-8427-E40140A01D37}" destId="{8D54B748-D138-4A95-BBD9-9A3E2F0558FF}" srcOrd="0" destOrd="0" presId="urn:microsoft.com/office/officeart/2005/8/layout/hierarchy2"/>
    <dgm:cxn modelId="{F0D43A0C-6DFC-4CB6-B16B-B6E648CF7F0A}" type="presOf" srcId="{701DB339-5FD6-4C04-9B23-B64C1F0A7DE0}" destId="{859E2723-F93C-4827-B9AC-A80140658D65}" srcOrd="0" destOrd="0" presId="urn:microsoft.com/office/officeart/2005/8/layout/hierarchy2"/>
    <dgm:cxn modelId="{69702619-A757-4F97-BC3B-0413B730F23B}" type="presOf" srcId="{06818301-07A6-4D66-ADB7-A4E28FB556A5}" destId="{A5144E78-1D98-47CD-9B88-5EB6A99BCFD1}" srcOrd="0" destOrd="0" presId="urn:microsoft.com/office/officeart/2005/8/layout/hierarchy2"/>
    <dgm:cxn modelId="{70425932-245B-4D60-86CD-1861E3B097BB}" type="presOf" srcId="{62A61F7D-53A1-4DCB-8B9D-FA53219F6D61}" destId="{2D6B5A54-7491-45EE-9038-AFE5CB904293}" srcOrd="1" destOrd="0" presId="urn:microsoft.com/office/officeart/2005/8/layout/hierarchy2"/>
    <dgm:cxn modelId="{D3EB9362-69F8-434D-BF67-789FE6E5F62E}" type="presOf" srcId="{1C5D596C-507B-4557-8B88-B2F190887105}" destId="{0E1E96B4-201E-4C10-978F-5D202AB236A4}" srcOrd="1" destOrd="0" presId="urn:microsoft.com/office/officeart/2005/8/layout/hierarchy2"/>
    <dgm:cxn modelId="{72D3A844-4802-4FCF-982D-3115FF53C109}" type="presOf" srcId="{B8540430-4F8B-42E0-87CA-F3EE47A8CEE9}" destId="{03B1A58D-DE78-4FCB-9C73-AFB25021E2AC}" srcOrd="0" destOrd="0" presId="urn:microsoft.com/office/officeart/2005/8/layout/hierarchy2"/>
    <dgm:cxn modelId="{5AC01B66-6383-4E2C-97C7-AC0B03724A76}" type="presOf" srcId="{09003ACB-7B57-4782-AE34-6F99BF447E38}" destId="{D21F65AC-68CC-40B8-AB1C-71835F233A7F}" srcOrd="0" destOrd="0" presId="urn:microsoft.com/office/officeart/2005/8/layout/hierarchy2"/>
    <dgm:cxn modelId="{5C285E4F-A326-4A36-AF47-0108A66314BD}" srcId="{9D045C2A-D8CA-4F8D-8427-E40140A01D37}" destId="{7F3F17D2-2F28-456F-B6FD-C3B46CA0D9E9}" srcOrd="0" destOrd="0" parTransId="{62A61F7D-53A1-4DCB-8B9D-FA53219F6D61}" sibTransId="{C4942828-CE0E-4C15-B350-545E234D0FE6}"/>
    <dgm:cxn modelId="{99ABC272-69AD-4481-8F88-75F2E347348B}" type="presOf" srcId="{1EF09289-59FF-4A49-A434-29E00CF2731A}" destId="{15DEFE25-3D6E-4D59-9EB0-2CE543B05CFE}" srcOrd="0" destOrd="0" presId="urn:microsoft.com/office/officeart/2005/8/layout/hierarchy2"/>
    <dgm:cxn modelId="{83422876-C760-45F8-B596-EA7FC981509B}" type="presOf" srcId="{6B1A3F05-3319-430A-B269-1077E915B62D}" destId="{899EE3E4-D10B-4D3C-8EB8-E1704A0A63EC}" srcOrd="0" destOrd="0" presId="urn:microsoft.com/office/officeart/2005/8/layout/hierarchy2"/>
    <dgm:cxn modelId="{C50F5D56-64AC-4778-94CE-4CD0425077EA}" type="presOf" srcId="{1C5D596C-507B-4557-8B88-B2F190887105}" destId="{50F97A67-D6EB-486B-80B3-F4E92692A63E}" srcOrd="0" destOrd="0" presId="urn:microsoft.com/office/officeart/2005/8/layout/hierarchy2"/>
    <dgm:cxn modelId="{AA46557D-6860-4B20-BDB0-81569CC03F87}" type="presOf" srcId="{06818301-07A6-4D66-ADB7-A4E28FB556A5}" destId="{C9A794BC-DE80-4468-8A47-F854AD7359FF}" srcOrd="1" destOrd="0" presId="urn:microsoft.com/office/officeart/2005/8/layout/hierarchy2"/>
    <dgm:cxn modelId="{2F785C89-D860-46EE-B217-A67F4F8C9F34}" type="presOf" srcId="{62A61F7D-53A1-4DCB-8B9D-FA53219F6D61}" destId="{4BA3036D-F178-40AC-A9F3-6540FD725A9C}" srcOrd="0" destOrd="0" presId="urn:microsoft.com/office/officeart/2005/8/layout/hierarchy2"/>
    <dgm:cxn modelId="{7199DC8C-5EF7-4836-911C-E3225206F805}" type="presOf" srcId="{01C4677B-3DF3-4CE2-87BB-EB26559C6C06}" destId="{017F464F-ACF8-4FE2-833E-F99F3A901C97}" srcOrd="1" destOrd="0" presId="urn:microsoft.com/office/officeart/2005/8/layout/hierarchy2"/>
    <dgm:cxn modelId="{6E7DCB8F-AB5A-468E-8D8C-C382C1983146}" srcId="{9D045C2A-D8CA-4F8D-8427-E40140A01D37}" destId="{6B1A3F05-3319-430A-B269-1077E915B62D}" srcOrd="2" destOrd="0" parTransId="{1C5D596C-507B-4557-8B88-B2F190887105}" sibTransId="{89650286-A5BC-4A1D-A4F5-CC052BB44AFB}"/>
    <dgm:cxn modelId="{1EC1C499-6CA1-4819-A51C-C95F75F80B80}" type="presOf" srcId="{7F3F17D2-2F28-456F-B6FD-C3B46CA0D9E9}" destId="{43F38E44-0C76-44A7-A47E-C1FE71215600}" srcOrd="0" destOrd="0" presId="urn:microsoft.com/office/officeart/2005/8/layout/hierarchy2"/>
    <dgm:cxn modelId="{965BB99C-FF8A-407E-99F4-F7D232C3A5F1}" type="presOf" srcId="{63060304-479D-41AF-A716-5D093E44A039}" destId="{94B9BDB7-C7B5-4A08-85B3-EDE640582074}" srcOrd="0" destOrd="0" presId="urn:microsoft.com/office/officeart/2005/8/layout/hierarchy2"/>
    <dgm:cxn modelId="{AE283CB7-9AE6-4469-AA85-CFC1BF7E06E2}" type="presOf" srcId="{01C4677B-3DF3-4CE2-87BB-EB26559C6C06}" destId="{BA2D9B3A-84BF-4132-B575-2E54EF222BB1}" srcOrd="0" destOrd="0" presId="urn:microsoft.com/office/officeart/2005/8/layout/hierarchy2"/>
    <dgm:cxn modelId="{641107C5-DE91-4F56-AA61-1A75FD0474E7}" srcId="{9D045C2A-D8CA-4F8D-8427-E40140A01D37}" destId="{B8540430-4F8B-42E0-87CA-F3EE47A8CEE9}" srcOrd="1" destOrd="0" parTransId="{701DB339-5FD6-4C04-9B23-B64C1F0A7DE0}" sibTransId="{84AEB7CB-D8A0-4004-9836-CC6DDE57B8B6}"/>
    <dgm:cxn modelId="{96048BD6-5C62-4001-9041-7A37169D3ED3}" srcId="{9D045C2A-D8CA-4F8D-8427-E40140A01D37}" destId="{63060304-479D-41AF-A716-5D093E44A039}" srcOrd="4" destOrd="0" parTransId="{06818301-07A6-4D66-ADB7-A4E28FB556A5}" sibTransId="{C6512316-3DB3-4763-8F03-507965BCA481}"/>
    <dgm:cxn modelId="{6921A3DC-077F-47EB-85CF-F19A151D264B}" srcId="{9D045C2A-D8CA-4F8D-8427-E40140A01D37}" destId="{1EF09289-59FF-4A49-A434-29E00CF2731A}" srcOrd="3" destOrd="0" parTransId="{01C4677B-3DF3-4CE2-87BB-EB26559C6C06}" sibTransId="{25426E6F-8EF1-4CA9-A01B-120E751367CB}"/>
    <dgm:cxn modelId="{191A7CE8-65BE-43E0-A4DE-C9BD8E5EA001}" srcId="{09003ACB-7B57-4782-AE34-6F99BF447E38}" destId="{9D045C2A-D8CA-4F8D-8427-E40140A01D37}" srcOrd="0" destOrd="0" parTransId="{F452FDD7-CEB9-4EEA-B47D-51B7E83B2FCD}" sibTransId="{C735A0BC-56F2-4D5B-A8B0-3CD090616DF3}"/>
    <dgm:cxn modelId="{76512265-17AD-43CE-9497-0834D4641188}" type="presParOf" srcId="{D21F65AC-68CC-40B8-AB1C-71835F233A7F}" destId="{C8493CDC-ED2D-4B9E-A19E-64D8AC0E6BED}" srcOrd="0" destOrd="0" presId="urn:microsoft.com/office/officeart/2005/8/layout/hierarchy2"/>
    <dgm:cxn modelId="{427AD46A-37D9-4BFE-A935-06996624B18B}" type="presParOf" srcId="{C8493CDC-ED2D-4B9E-A19E-64D8AC0E6BED}" destId="{8D54B748-D138-4A95-BBD9-9A3E2F0558FF}" srcOrd="0" destOrd="0" presId="urn:microsoft.com/office/officeart/2005/8/layout/hierarchy2"/>
    <dgm:cxn modelId="{FF954D11-4A25-445A-8B27-EA70FBD70993}" type="presParOf" srcId="{C8493CDC-ED2D-4B9E-A19E-64D8AC0E6BED}" destId="{DBE84A84-9B32-4182-A2A7-99096578D566}" srcOrd="1" destOrd="0" presId="urn:microsoft.com/office/officeart/2005/8/layout/hierarchy2"/>
    <dgm:cxn modelId="{C9986BB2-19D3-4389-A627-A446B4DDCA5B}" type="presParOf" srcId="{DBE84A84-9B32-4182-A2A7-99096578D566}" destId="{4BA3036D-F178-40AC-A9F3-6540FD725A9C}" srcOrd="0" destOrd="0" presId="urn:microsoft.com/office/officeart/2005/8/layout/hierarchy2"/>
    <dgm:cxn modelId="{5083CB8B-E3D5-46A1-B6C5-8DAB5240EF68}" type="presParOf" srcId="{4BA3036D-F178-40AC-A9F3-6540FD725A9C}" destId="{2D6B5A54-7491-45EE-9038-AFE5CB904293}" srcOrd="0" destOrd="0" presId="urn:microsoft.com/office/officeart/2005/8/layout/hierarchy2"/>
    <dgm:cxn modelId="{EDD3366D-7109-4FFA-A73F-F21659F02F73}" type="presParOf" srcId="{DBE84A84-9B32-4182-A2A7-99096578D566}" destId="{A26E91D6-013D-4B59-8A0C-7FF05E5CBB40}" srcOrd="1" destOrd="0" presId="urn:microsoft.com/office/officeart/2005/8/layout/hierarchy2"/>
    <dgm:cxn modelId="{65BE492F-C43C-435E-9A54-736719223BF1}" type="presParOf" srcId="{A26E91D6-013D-4B59-8A0C-7FF05E5CBB40}" destId="{43F38E44-0C76-44A7-A47E-C1FE71215600}" srcOrd="0" destOrd="0" presId="urn:microsoft.com/office/officeart/2005/8/layout/hierarchy2"/>
    <dgm:cxn modelId="{6C853EB8-F4AA-422E-B031-CB63837804C7}" type="presParOf" srcId="{A26E91D6-013D-4B59-8A0C-7FF05E5CBB40}" destId="{42C488AD-651D-4CE3-B245-C8BD8C607F64}" srcOrd="1" destOrd="0" presId="urn:microsoft.com/office/officeart/2005/8/layout/hierarchy2"/>
    <dgm:cxn modelId="{684901F0-8968-474A-B674-06107FD37487}" type="presParOf" srcId="{DBE84A84-9B32-4182-A2A7-99096578D566}" destId="{859E2723-F93C-4827-B9AC-A80140658D65}" srcOrd="2" destOrd="0" presId="urn:microsoft.com/office/officeart/2005/8/layout/hierarchy2"/>
    <dgm:cxn modelId="{7C1ABAC5-252E-40A5-9AE1-3F03EAA9875B}" type="presParOf" srcId="{859E2723-F93C-4827-B9AC-A80140658D65}" destId="{1600F4D0-DC3B-4DB7-A9F1-26450E647897}" srcOrd="0" destOrd="0" presId="urn:microsoft.com/office/officeart/2005/8/layout/hierarchy2"/>
    <dgm:cxn modelId="{5F48A42D-293A-45BE-BC64-7AEF6551CF09}" type="presParOf" srcId="{DBE84A84-9B32-4182-A2A7-99096578D566}" destId="{C2B0A1CD-ED04-4E96-A514-70ED1A897E08}" srcOrd="3" destOrd="0" presId="urn:microsoft.com/office/officeart/2005/8/layout/hierarchy2"/>
    <dgm:cxn modelId="{A5D1B8D7-95C0-4CC2-A55F-7DCFCB32B38B}" type="presParOf" srcId="{C2B0A1CD-ED04-4E96-A514-70ED1A897E08}" destId="{03B1A58D-DE78-4FCB-9C73-AFB25021E2AC}" srcOrd="0" destOrd="0" presId="urn:microsoft.com/office/officeart/2005/8/layout/hierarchy2"/>
    <dgm:cxn modelId="{9FCAE903-DB53-4273-8073-D1DE45A2B6D0}" type="presParOf" srcId="{C2B0A1CD-ED04-4E96-A514-70ED1A897E08}" destId="{57D6E4C0-022A-4FD8-9B27-8DAEA107D4AD}" srcOrd="1" destOrd="0" presId="urn:microsoft.com/office/officeart/2005/8/layout/hierarchy2"/>
    <dgm:cxn modelId="{5E68545A-5B57-4ECC-8DC7-14C48B0AACC1}" type="presParOf" srcId="{DBE84A84-9B32-4182-A2A7-99096578D566}" destId="{50F97A67-D6EB-486B-80B3-F4E92692A63E}" srcOrd="4" destOrd="0" presId="urn:microsoft.com/office/officeart/2005/8/layout/hierarchy2"/>
    <dgm:cxn modelId="{1FBC8B0D-E86A-40F2-AEEB-B5EFDC356ADE}" type="presParOf" srcId="{50F97A67-D6EB-486B-80B3-F4E92692A63E}" destId="{0E1E96B4-201E-4C10-978F-5D202AB236A4}" srcOrd="0" destOrd="0" presId="urn:microsoft.com/office/officeart/2005/8/layout/hierarchy2"/>
    <dgm:cxn modelId="{6086A8CD-5CCA-474B-8F04-7FA1200822EA}" type="presParOf" srcId="{DBE84A84-9B32-4182-A2A7-99096578D566}" destId="{F85548FD-F397-44F4-9F6E-7768414D58CA}" srcOrd="5" destOrd="0" presId="urn:microsoft.com/office/officeart/2005/8/layout/hierarchy2"/>
    <dgm:cxn modelId="{FBA5E657-404F-48F6-A743-06084DD977CB}" type="presParOf" srcId="{F85548FD-F397-44F4-9F6E-7768414D58CA}" destId="{899EE3E4-D10B-4D3C-8EB8-E1704A0A63EC}" srcOrd="0" destOrd="0" presId="urn:microsoft.com/office/officeart/2005/8/layout/hierarchy2"/>
    <dgm:cxn modelId="{A30BD616-416C-46C8-BAF7-8EF79871FAD8}" type="presParOf" srcId="{F85548FD-F397-44F4-9F6E-7768414D58CA}" destId="{E9B18363-CEDC-4708-B330-776B1DF7BD1C}" srcOrd="1" destOrd="0" presId="urn:microsoft.com/office/officeart/2005/8/layout/hierarchy2"/>
    <dgm:cxn modelId="{8C5C5560-C02B-428E-99D1-EDDA7CC7EBF8}" type="presParOf" srcId="{DBE84A84-9B32-4182-A2A7-99096578D566}" destId="{BA2D9B3A-84BF-4132-B575-2E54EF222BB1}" srcOrd="6" destOrd="0" presId="urn:microsoft.com/office/officeart/2005/8/layout/hierarchy2"/>
    <dgm:cxn modelId="{FD7BDF60-A811-42E9-AB94-702EAE01EC6A}" type="presParOf" srcId="{BA2D9B3A-84BF-4132-B575-2E54EF222BB1}" destId="{017F464F-ACF8-4FE2-833E-F99F3A901C97}" srcOrd="0" destOrd="0" presId="urn:microsoft.com/office/officeart/2005/8/layout/hierarchy2"/>
    <dgm:cxn modelId="{F5306CF5-4B14-4A67-A2B6-5F9BA5FA6CFC}" type="presParOf" srcId="{DBE84A84-9B32-4182-A2A7-99096578D566}" destId="{FCB9EEAF-0788-4FB4-B2D9-E00911A18E94}" srcOrd="7" destOrd="0" presId="urn:microsoft.com/office/officeart/2005/8/layout/hierarchy2"/>
    <dgm:cxn modelId="{8FB1A9D3-D104-4CB8-A904-AA5F2724FB34}" type="presParOf" srcId="{FCB9EEAF-0788-4FB4-B2D9-E00911A18E94}" destId="{15DEFE25-3D6E-4D59-9EB0-2CE543B05CFE}" srcOrd="0" destOrd="0" presId="urn:microsoft.com/office/officeart/2005/8/layout/hierarchy2"/>
    <dgm:cxn modelId="{39205856-69B2-4154-995B-DFFD5C1BCCCC}" type="presParOf" srcId="{FCB9EEAF-0788-4FB4-B2D9-E00911A18E94}" destId="{2FACCCAB-6CAA-4635-A390-901DDE19ADA9}" srcOrd="1" destOrd="0" presId="urn:microsoft.com/office/officeart/2005/8/layout/hierarchy2"/>
    <dgm:cxn modelId="{C5AEA1FA-7CD6-4DFF-B1B6-A9018EDC08CC}" type="presParOf" srcId="{DBE84A84-9B32-4182-A2A7-99096578D566}" destId="{A5144E78-1D98-47CD-9B88-5EB6A99BCFD1}" srcOrd="8" destOrd="0" presId="urn:microsoft.com/office/officeart/2005/8/layout/hierarchy2"/>
    <dgm:cxn modelId="{A536A6BF-885D-4C0A-9780-C536053D3DA7}" type="presParOf" srcId="{A5144E78-1D98-47CD-9B88-5EB6A99BCFD1}" destId="{C9A794BC-DE80-4468-8A47-F854AD7359FF}" srcOrd="0" destOrd="0" presId="urn:microsoft.com/office/officeart/2005/8/layout/hierarchy2"/>
    <dgm:cxn modelId="{2063EC34-BF39-4207-BB31-DD7D543175E0}" type="presParOf" srcId="{DBE84A84-9B32-4182-A2A7-99096578D566}" destId="{0DFE6C85-2913-41C6-95DE-157CA25FCDEA}" srcOrd="9" destOrd="0" presId="urn:microsoft.com/office/officeart/2005/8/layout/hierarchy2"/>
    <dgm:cxn modelId="{893AC7EF-AD1B-44EE-860A-F69EB3FF2906}" type="presParOf" srcId="{0DFE6C85-2913-41C6-95DE-157CA25FCDEA}" destId="{94B9BDB7-C7B5-4A08-85B3-EDE640582074}" srcOrd="0" destOrd="0" presId="urn:microsoft.com/office/officeart/2005/8/layout/hierarchy2"/>
    <dgm:cxn modelId="{E96C7410-F4FE-4997-AA93-95CDBF6149BE}" type="presParOf" srcId="{0DFE6C85-2913-41C6-95DE-157CA25FCDEA}" destId="{A03E7564-8253-41C8-9863-39A4A93D2B2F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EF22EA-ADCF-49B8-9385-FD41B11C5065}">
      <dsp:nvSpPr>
        <dsp:cNvPr id="0" name=""/>
        <dsp:cNvSpPr/>
      </dsp:nvSpPr>
      <dsp:spPr>
        <a:xfrm>
          <a:off x="1852201" y="1800688"/>
          <a:ext cx="370018" cy="55101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85009" y="0"/>
              </a:lnTo>
              <a:lnTo>
                <a:pt x="185009" y="551019"/>
              </a:lnTo>
              <a:lnTo>
                <a:pt x="370018" y="551019"/>
              </a:lnTo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91F3645-6F75-4C55-825A-322C57A32DC2}">
      <dsp:nvSpPr>
        <dsp:cNvPr id="0" name=""/>
        <dsp:cNvSpPr/>
      </dsp:nvSpPr>
      <dsp:spPr>
        <a:xfrm>
          <a:off x="1852201" y="1206284"/>
          <a:ext cx="370018" cy="594403"/>
        </a:xfrm>
        <a:custGeom>
          <a:avLst/>
          <a:gdLst/>
          <a:ahLst/>
          <a:cxnLst/>
          <a:rect l="0" t="0" r="0" b="0"/>
          <a:pathLst>
            <a:path>
              <a:moveTo>
                <a:pt x="0" y="594403"/>
              </a:moveTo>
              <a:lnTo>
                <a:pt x="185009" y="594403"/>
              </a:lnTo>
              <a:lnTo>
                <a:pt x="185009" y="0"/>
              </a:lnTo>
              <a:lnTo>
                <a:pt x="370018" y="0"/>
              </a:lnTo>
            </a:path>
          </a:pathLst>
        </a:custGeom>
        <a:noFill/>
        <a:ln w="9525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9373FF5-95BD-4C5D-A6C3-A7DB2F0B02B3}">
      <dsp:nvSpPr>
        <dsp:cNvPr id="0" name=""/>
        <dsp:cNvSpPr/>
      </dsp:nvSpPr>
      <dsp:spPr>
        <a:xfrm>
          <a:off x="2108" y="1407781"/>
          <a:ext cx="1850092" cy="785813"/>
        </a:xfrm>
        <a:prstGeom prst="rect">
          <a:avLst/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2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b="1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Стратегия развития КАП до 2028 года</a:t>
          </a:r>
          <a:endParaRPr lang="ru-RU" sz="1800" kern="1200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108" y="1407781"/>
        <a:ext cx="1850092" cy="785813"/>
      </dsp:txXfrm>
    </dsp:sp>
    <dsp:sp modelId="{A43748BC-3ADF-4DF6-9BDE-8069CD2E4635}">
      <dsp:nvSpPr>
        <dsp:cNvPr id="0" name=""/>
        <dsp:cNvSpPr/>
      </dsp:nvSpPr>
      <dsp:spPr>
        <a:xfrm>
          <a:off x="2222219" y="770895"/>
          <a:ext cx="3882493" cy="870777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Arial" panose="020B0604020202020204" pitchFamily="34" charset="0"/>
              <a:cs typeface="Arial" panose="020B0604020202020204" pitchFamily="34" charset="0"/>
            </a:rPr>
            <a:t>Стратегическая цель: «Применять передовые практики в бизнес-деятельности» </a:t>
          </a:r>
          <a:endParaRPr lang="ru-RU" sz="14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22219" y="770895"/>
        <a:ext cx="3882493" cy="870777"/>
      </dsp:txXfrm>
    </dsp:sp>
    <dsp:sp modelId="{58384175-61C6-4217-AA39-6E0ECCA72C74}">
      <dsp:nvSpPr>
        <dsp:cNvPr id="0" name=""/>
        <dsp:cNvSpPr/>
      </dsp:nvSpPr>
      <dsp:spPr>
        <a:xfrm>
          <a:off x="2222219" y="1872934"/>
          <a:ext cx="3911688" cy="957546"/>
        </a:xfrm>
        <a:prstGeom prst="rect">
          <a:avLst/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4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latin typeface="Arial" panose="020B0604020202020204" pitchFamily="34" charset="0"/>
              <a:cs typeface="Arial" panose="020B0604020202020204" pitchFamily="34" charset="0"/>
            </a:rPr>
            <a:t>Стратегическая задача: «Совершенствование культуры безопасности до уровня лучших мировых практик»</a:t>
          </a:r>
          <a:endParaRPr lang="ru-RU" sz="1200" kern="1200" dirty="0"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222219" y="1872934"/>
        <a:ext cx="3911688" cy="95754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5863633-4C8A-49BC-8A49-E3C5DBF09165}">
      <dsp:nvSpPr>
        <dsp:cNvPr id="0" name=""/>
        <dsp:cNvSpPr/>
      </dsp:nvSpPr>
      <dsp:spPr>
        <a:xfrm rot="16200000">
          <a:off x="-87851" y="89168"/>
          <a:ext cx="1470856" cy="1292518"/>
        </a:xfrm>
        <a:prstGeom prst="flowChartManualOperati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62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Мы бережно относимся к окружающей среде</a:t>
          </a:r>
        </a:p>
      </dsp:txBody>
      <dsp:txXfrm rot="5400000">
        <a:off x="1318" y="294170"/>
        <a:ext cx="1292518" cy="882514"/>
      </dsp:txXfrm>
    </dsp:sp>
    <dsp:sp modelId="{AE4ED731-A594-432C-AF6A-9323D4C27F75}">
      <dsp:nvSpPr>
        <dsp:cNvPr id="0" name=""/>
        <dsp:cNvSpPr/>
      </dsp:nvSpPr>
      <dsp:spPr>
        <a:xfrm rot="16200000">
          <a:off x="1301605" y="89168"/>
          <a:ext cx="1470856" cy="1292518"/>
        </a:xfrm>
        <a:prstGeom prst="flowChartManualOperati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62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Мы поддерживаем культуру безопасности</a:t>
          </a:r>
        </a:p>
      </dsp:txBody>
      <dsp:txXfrm rot="5400000">
        <a:off x="1390774" y="294170"/>
        <a:ext cx="1292518" cy="882514"/>
      </dsp:txXfrm>
    </dsp:sp>
    <dsp:sp modelId="{174302A4-2CBF-447E-A8A1-8D195DA50A21}">
      <dsp:nvSpPr>
        <dsp:cNvPr id="0" name=""/>
        <dsp:cNvSpPr/>
      </dsp:nvSpPr>
      <dsp:spPr>
        <a:xfrm rot="16200000">
          <a:off x="2691063" y="89168"/>
          <a:ext cx="1470856" cy="1292518"/>
        </a:xfrm>
        <a:prstGeom prst="flowChartManualOperati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62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Мы руководствуемся стандартами безопасного бизнеса</a:t>
          </a:r>
        </a:p>
      </dsp:txBody>
      <dsp:txXfrm rot="5400000">
        <a:off x="2780232" y="294170"/>
        <a:ext cx="1292518" cy="882514"/>
      </dsp:txXfrm>
    </dsp:sp>
    <dsp:sp modelId="{6AD3013B-F352-4883-B40F-FA3091BC9140}">
      <dsp:nvSpPr>
        <dsp:cNvPr id="0" name=""/>
        <dsp:cNvSpPr/>
      </dsp:nvSpPr>
      <dsp:spPr>
        <a:xfrm rot="16200000">
          <a:off x="4080520" y="89168"/>
          <a:ext cx="1470856" cy="1292518"/>
        </a:xfrm>
        <a:prstGeom prst="flowChartManualOperation">
          <a:avLst/>
        </a:prstGeom>
        <a:gradFill rotWithShape="0">
          <a:gsLst>
            <a:gs pos="0">
              <a:schemeClr val="lt1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lt1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lt1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7620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/>
            <a:t>Мы лично несем ответственность за безопасность</a:t>
          </a:r>
        </a:p>
      </dsp:txBody>
      <dsp:txXfrm rot="5400000">
        <a:off x="4169689" y="294170"/>
        <a:ext cx="1292518" cy="882514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DDE752F-117D-4581-98E4-22BB4B0EAFF1}">
      <dsp:nvSpPr>
        <dsp:cNvPr id="0" name=""/>
        <dsp:cNvSpPr/>
      </dsp:nvSpPr>
      <dsp:spPr>
        <a:xfrm>
          <a:off x="0" y="600"/>
          <a:ext cx="479408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9D1E4AC-0B8C-403B-9553-90186C50BF6B}">
      <dsp:nvSpPr>
        <dsp:cNvPr id="0" name=""/>
        <dsp:cNvSpPr/>
      </dsp:nvSpPr>
      <dsp:spPr>
        <a:xfrm>
          <a:off x="0" y="600"/>
          <a:ext cx="4794089" cy="702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1"/>
              </a:solidFill>
            </a:rPr>
            <a:t>Стать лидером</a:t>
          </a:r>
          <a:r>
            <a:rPr lang="ru-RU" sz="1600" kern="1200" dirty="0">
              <a:solidFill>
                <a:schemeClr val="tx1"/>
              </a:solidFill>
            </a:rPr>
            <a:t> </a:t>
          </a:r>
          <a:r>
            <a:rPr lang="ru-RU" sz="1600" kern="1200" dirty="0"/>
            <a:t>– показать приверженность принципам</a:t>
          </a:r>
        </a:p>
      </dsp:txBody>
      <dsp:txXfrm>
        <a:off x="0" y="600"/>
        <a:ext cx="4794089" cy="702072"/>
      </dsp:txXfrm>
    </dsp:sp>
    <dsp:sp modelId="{0FDEB60D-7AE6-48B1-8B53-E330AF41B4F6}">
      <dsp:nvSpPr>
        <dsp:cNvPr id="0" name=""/>
        <dsp:cNvSpPr/>
      </dsp:nvSpPr>
      <dsp:spPr>
        <a:xfrm>
          <a:off x="0" y="702672"/>
          <a:ext cx="479408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34C80BC-ADC0-4AD3-8E14-B3C605434C35}">
      <dsp:nvSpPr>
        <dsp:cNvPr id="0" name=""/>
        <dsp:cNvSpPr/>
      </dsp:nvSpPr>
      <dsp:spPr>
        <a:xfrm>
          <a:off x="0" y="702672"/>
          <a:ext cx="4794089" cy="702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C00000"/>
              </a:solidFill>
            </a:rPr>
            <a:t>Выявлять угрозы</a:t>
          </a:r>
          <a:r>
            <a:rPr lang="ru-RU" sz="1600" kern="1200" dirty="0">
              <a:solidFill>
                <a:srgbClr val="C00000"/>
              </a:solidFill>
            </a:rPr>
            <a:t> </a:t>
          </a:r>
          <a:r>
            <a:rPr lang="ru-RU" sz="1600" kern="1200" dirty="0"/>
            <a:t>– контролировать риски</a:t>
          </a:r>
        </a:p>
      </dsp:txBody>
      <dsp:txXfrm>
        <a:off x="0" y="702672"/>
        <a:ext cx="4794089" cy="702072"/>
      </dsp:txXfrm>
    </dsp:sp>
    <dsp:sp modelId="{30B4FFE4-81DA-4035-8DD2-128C2DD0E5BE}">
      <dsp:nvSpPr>
        <dsp:cNvPr id="0" name=""/>
        <dsp:cNvSpPr/>
      </dsp:nvSpPr>
      <dsp:spPr>
        <a:xfrm>
          <a:off x="0" y="1404744"/>
          <a:ext cx="479408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40435C-1321-46D7-8A7A-45FCD9055F43}">
      <dsp:nvSpPr>
        <dsp:cNvPr id="0" name=""/>
        <dsp:cNvSpPr/>
      </dsp:nvSpPr>
      <dsp:spPr>
        <a:xfrm>
          <a:off x="0" y="1404744"/>
          <a:ext cx="4794089" cy="702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tx2"/>
              </a:solidFill>
            </a:rPr>
            <a:t>Определять цели</a:t>
          </a:r>
          <a:r>
            <a:rPr lang="ru-RU" sz="1600" kern="1200" dirty="0">
              <a:solidFill>
                <a:schemeClr val="tx2"/>
              </a:solidFill>
            </a:rPr>
            <a:t> </a:t>
          </a:r>
          <a:r>
            <a:rPr lang="ru-RU" sz="1600" kern="1200" dirty="0"/>
            <a:t>– разрабатывать программы</a:t>
          </a:r>
        </a:p>
      </dsp:txBody>
      <dsp:txXfrm>
        <a:off x="0" y="1404744"/>
        <a:ext cx="4794089" cy="702072"/>
      </dsp:txXfrm>
    </dsp:sp>
    <dsp:sp modelId="{3E321A5E-160F-4B28-92E6-FD65E5E181B4}">
      <dsp:nvSpPr>
        <dsp:cNvPr id="0" name=""/>
        <dsp:cNvSpPr/>
      </dsp:nvSpPr>
      <dsp:spPr>
        <a:xfrm>
          <a:off x="0" y="1964577"/>
          <a:ext cx="479408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4451C8C-4A7A-4599-AD1D-31F06057DA90}">
      <dsp:nvSpPr>
        <dsp:cNvPr id="0" name=""/>
        <dsp:cNvSpPr/>
      </dsp:nvSpPr>
      <dsp:spPr>
        <a:xfrm>
          <a:off x="0" y="2032306"/>
          <a:ext cx="4794089" cy="702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accent3"/>
              </a:solidFill>
            </a:rPr>
            <a:t>Постоянно совершенствовать систему ПБ</a:t>
          </a:r>
          <a:r>
            <a:rPr lang="ru-RU" sz="1600" kern="1200" dirty="0">
              <a:solidFill>
                <a:schemeClr val="accent3"/>
              </a:solidFill>
            </a:rPr>
            <a:t> </a:t>
          </a:r>
          <a:r>
            <a:rPr lang="ru-RU" sz="1600" kern="1200" dirty="0"/>
            <a:t>– достичь высокого уровня организации.</a:t>
          </a:r>
        </a:p>
      </dsp:txBody>
      <dsp:txXfrm>
        <a:off x="0" y="2032306"/>
        <a:ext cx="4794089" cy="702072"/>
      </dsp:txXfrm>
    </dsp:sp>
    <dsp:sp modelId="{47563784-5663-4858-B120-C98B28551616}">
      <dsp:nvSpPr>
        <dsp:cNvPr id="0" name=""/>
        <dsp:cNvSpPr/>
      </dsp:nvSpPr>
      <dsp:spPr>
        <a:xfrm>
          <a:off x="0" y="2808889"/>
          <a:ext cx="479408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56E3DE2-7F2C-4946-98E2-75BE8C90F685}">
      <dsp:nvSpPr>
        <dsp:cNvPr id="0" name=""/>
        <dsp:cNvSpPr/>
      </dsp:nvSpPr>
      <dsp:spPr>
        <a:xfrm>
          <a:off x="0" y="2808889"/>
          <a:ext cx="4794089" cy="702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rgbClr val="517D21"/>
              </a:solidFill>
            </a:rPr>
            <a:t>Обеспечить ПБ на рабочих местах</a:t>
          </a:r>
          <a:r>
            <a:rPr lang="ru-RU" sz="1600" kern="1200" dirty="0"/>
            <a:t>, при работе с оборудованием и опасными веществами.</a:t>
          </a:r>
        </a:p>
      </dsp:txBody>
      <dsp:txXfrm>
        <a:off x="0" y="2808889"/>
        <a:ext cx="4794089" cy="702072"/>
      </dsp:txXfrm>
    </dsp:sp>
    <dsp:sp modelId="{63CD4B75-1759-4504-857B-2C25E1CBE134}">
      <dsp:nvSpPr>
        <dsp:cNvPr id="0" name=""/>
        <dsp:cNvSpPr/>
      </dsp:nvSpPr>
      <dsp:spPr>
        <a:xfrm>
          <a:off x="0" y="3510962"/>
          <a:ext cx="479408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F9B1F43-6D1B-4B45-85E3-FDA1A5F42A2A}">
      <dsp:nvSpPr>
        <dsp:cNvPr id="0" name=""/>
        <dsp:cNvSpPr/>
      </dsp:nvSpPr>
      <dsp:spPr>
        <a:xfrm>
          <a:off x="0" y="3510962"/>
          <a:ext cx="4794089" cy="702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>
              <a:solidFill>
                <a:schemeClr val="accent2">
                  <a:lumMod val="50000"/>
                </a:schemeClr>
              </a:solidFill>
            </a:rPr>
            <a:t>Повышать квалификацию</a:t>
          </a:r>
          <a:r>
            <a:rPr lang="ru-RU" sz="1600" kern="1200" dirty="0">
              <a:solidFill>
                <a:schemeClr val="accent2">
                  <a:lumMod val="50000"/>
                </a:schemeClr>
              </a:solidFill>
            </a:rPr>
            <a:t> </a:t>
          </a:r>
          <a:r>
            <a:rPr lang="ru-RU" sz="1600" kern="1200" dirty="0"/>
            <a:t>– развивать профессиональные навыки.</a:t>
          </a:r>
        </a:p>
      </dsp:txBody>
      <dsp:txXfrm>
        <a:off x="0" y="3510962"/>
        <a:ext cx="4794089" cy="702072"/>
      </dsp:txXfrm>
    </dsp:sp>
    <dsp:sp modelId="{A575BAB9-E079-4F45-A4C3-730220CB7A5F}">
      <dsp:nvSpPr>
        <dsp:cNvPr id="0" name=""/>
        <dsp:cNvSpPr/>
      </dsp:nvSpPr>
      <dsp:spPr>
        <a:xfrm>
          <a:off x="0" y="4213034"/>
          <a:ext cx="4794089" cy="0"/>
        </a:xfrm>
        <a:prstGeom prst="lin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F78F0AA-85D4-4C6A-9B4C-267B2A9BA445}">
      <dsp:nvSpPr>
        <dsp:cNvPr id="0" name=""/>
        <dsp:cNvSpPr/>
      </dsp:nvSpPr>
      <dsp:spPr>
        <a:xfrm>
          <a:off x="0" y="4213034"/>
          <a:ext cx="4794089" cy="70207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b="1" kern="1200" dirty="0"/>
            <a:t>Инвестировать в кадры</a:t>
          </a:r>
          <a:r>
            <a:rPr lang="ru-RU" sz="1600" kern="1200" dirty="0"/>
            <a:t> – мотивировать посредством участия.</a:t>
          </a:r>
        </a:p>
      </dsp:txBody>
      <dsp:txXfrm>
        <a:off x="0" y="4213034"/>
        <a:ext cx="4794089" cy="702072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AB8D306-14B8-441C-B9E1-1D960DF81BB5}">
      <dsp:nvSpPr>
        <dsp:cNvPr id="0" name=""/>
        <dsp:cNvSpPr/>
      </dsp:nvSpPr>
      <dsp:spPr>
        <a:xfrm>
          <a:off x="0" y="903183"/>
          <a:ext cx="6522609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5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816462-3A77-4F2F-ACFC-3383CBF19E65}">
      <dsp:nvSpPr>
        <dsp:cNvPr id="0" name=""/>
        <dsp:cNvSpPr/>
      </dsp:nvSpPr>
      <dsp:spPr>
        <a:xfrm>
          <a:off x="304764" y="193838"/>
          <a:ext cx="4561367" cy="910107"/>
        </a:xfrm>
        <a:prstGeom prst="roundRect">
          <a:avLst/>
        </a:prstGeom>
        <a:solidFill>
          <a:schemeClr val="accent4">
            <a:shade val="5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2577" tIns="0" rIns="172577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 Narrow" panose="020B0606020202030204" pitchFamily="34" charset="0"/>
            </a:rPr>
            <a:t>Кодекс охраны труда техники безопасности АО «НАК «</a:t>
          </a:r>
          <a:r>
            <a:rPr lang="ru-RU" sz="1800" kern="1200" dirty="0" err="1">
              <a:latin typeface="Arial Narrow" panose="020B0606020202030204" pitchFamily="34" charset="0"/>
            </a:rPr>
            <a:t>Казатомпром</a:t>
          </a:r>
          <a:r>
            <a:rPr lang="ru-RU" sz="1800" kern="1200" dirty="0">
              <a:latin typeface="Arial Narrow" panose="020B0606020202030204" pitchFamily="34" charset="0"/>
            </a:rPr>
            <a:t>»</a:t>
          </a:r>
        </a:p>
      </dsp:txBody>
      <dsp:txXfrm>
        <a:off x="349192" y="238266"/>
        <a:ext cx="4472511" cy="821251"/>
      </dsp:txXfrm>
    </dsp:sp>
    <dsp:sp modelId="{164AFFD0-3675-4D32-A1EB-A7900D22F028}">
      <dsp:nvSpPr>
        <dsp:cNvPr id="0" name=""/>
        <dsp:cNvSpPr/>
      </dsp:nvSpPr>
      <dsp:spPr>
        <a:xfrm>
          <a:off x="0" y="1971690"/>
          <a:ext cx="6522609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50000"/>
              <a:hueOff val="190598"/>
              <a:satOff val="-19022"/>
              <a:lumOff val="2062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10B4DBD-B475-4C45-9B23-28977747E910}">
      <dsp:nvSpPr>
        <dsp:cNvPr id="0" name=""/>
        <dsp:cNvSpPr/>
      </dsp:nvSpPr>
      <dsp:spPr>
        <a:xfrm>
          <a:off x="304764" y="1262345"/>
          <a:ext cx="4561367" cy="910107"/>
        </a:xfrm>
        <a:prstGeom prst="roundRect">
          <a:avLst/>
        </a:prstGeom>
        <a:solidFill>
          <a:schemeClr val="accent4">
            <a:shade val="50000"/>
            <a:hueOff val="190598"/>
            <a:satOff val="-19022"/>
            <a:lumOff val="20627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2577" tIns="0" rIns="172577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 Narrow" panose="020B0606020202030204" pitchFamily="34" charset="0"/>
            </a:rPr>
            <a:t>Корпоративный план развития культуры безопасности</a:t>
          </a:r>
        </a:p>
      </dsp:txBody>
      <dsp:txXfrm>
        <a:off x="349192" y="1306773"/>
        <a:ext cx="4472511" cy="821251"/>
      </dsp:txXfrm>
    </dsp:sp>
    <dsp:sp modelId="{DB172173-224F-44CF-A3D9-8A4B5B89CB8B}">
      <dsp:nvSpPr>
        <dsp:cNvPr id="0" name=""/>
        <dsp:cNvSpPr/>
      </dsp:nvSpPr>
      <dsp:spPr>
        <a:xfrm>
          <a:off x="0" y="3040198"/>
          <a:ext cx="6522609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50000"/>
              <a:hueOff val="381196"/>
              <a:satOff val="-38044"/>
              <a:lumOff val="4125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2C17B7A-6E7F-494D-9237-7300E115A185}">
      <dsp:nvSpPr>
        <dsp:cNvPr id="0" name=""/>
        <dsp:cNvSpPr/>
      </dsp:nvSpPr>
      <dsp:spPr>
        <a:xfrm>
          <a:off x="304764" y="2330853"/>
          <a:ext cx="4561367" cy="910107"/>
        </a:xfrm>
        <a:prstGeom prst="roundRect">
          <a:avLst/>
        </a:prstGeom>
        <a:solidFill>
          <a:schemeClr val="accent4">
            <a:shade val="50000"/>
            <a:hueOff val="381196"/>
            <a:satOff val="-38044"/>
            <a:lumOff val="41254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2577" tIns="0" rIns="172577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 Narrow" panose="020B0606020202030204" pitchFamily="34" charset="0"/>
            </a:rPr>
            <a:t>План мероприятий по снижению уровня травматизма</a:t>
          </a:r>
        </a:p>
      </dsp:txBody>
      <dsp:txXfrm>
        <a:off x="349192" y="2375281"/>
        <a:ext cx="4472511" cy="821251"/>
      </dsp:txXfrm>
    </dsp:sp>
    <dsp:sp modelId="{0CFF696B-3603-4537-8641-44825FC2F438}">
      <dsp:nvSpPr>
        <dsp:cNvPr id="0" name=""/>
        <dsp:cNvSpPr/>
      </dsp:nvSpPr>
      <dsp:spPr>
        <a:xfrm>
          <a:off x="0" y="4108705"/>
          <a:ext cx="6522609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50000"/>
              <a:hueOff val="381196"/>
              <a:satOff val="-38044"/>
              <a:lumOff val="41254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6FD5959-1496-4D13-A231-090E0D2C3656}">
      <dsp:nvSpPr>
        <dsp:cNvPr id="0" name=""/>
        <dsp:cNvSpPr/>
      </dsp:nvSpPr>
      <dsp:spPr>
        <a:xfrm>
          <a:off x="304764" y="3399360"/>
          <a:ext cx="4561367" cy="910107"/>
        </a:xfrm>
        <a:prstGeom prst="roundRect">
          <a:avLst/>
        </a:prstGeom>
        <a:solidFill>
          <a:schemeClr val="accent4">
            <a:shade val="50000"/>
            <a:hueOff val="381196"/>
            <a:satOff val="-38044"/>
            <a:lumOff val="41254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2577" tIns="0" rIns="172577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 Narrow" panose="020B0606020202030204" pitchFamily="34" charset="0"/>
            </a:rPr>
            <a:t>Стандарт «Единая система управления производственной безопасностью»</a:t>
          </a:r>
        </a:p>
      </dsp:txBody>
      <dsp:txXfrm>
        <a:off x="349192" y="3443788"/>
        <a:ext cx="4472511" cy="821251"/>
      </dsp:txXfrm>
    </dsp:sp>
    <dsp:sp modelId="{D6404C03-BC0C-4765-A1A1-DD513A5CBADD}">
      <dsp:nvSpPr>
        <dsp:cNvPr id="0" name=""/>
        <dsp:cNvSpPr/>
      </dsp:nvSpPr>
      <dsp:spPr>
        <a:xfrm>
          <a:off x="0" y="5177213"/>
          <a:ext cx="6522609" cy="25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shade val="50000"/>
              <a:hueOff val="190598"/>
              <a:satOff val="-19022"/>
              <a:lumOff val="20627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2E47BB-98B6-4E62-A8C4-00FAE8E503CE}">
      <dsp:nvSpPr>
        <dsp:cNvPr id="0" name=""/>
        <dsp:cNvSpPr/>
      </dsp:nvSpPr>
      <dsp:spPr>
        <a:xfrm>
          <a:off x="304764" y="4467868"/>
          <a:ext cx="4561367" cy="910107"/>
        </a:xfrm>
        <a:prstGeom prst="roundRect">
          <a:avLst/>
        </a:prstGeom>
        <a:solidFill>
          <a:schemeClr val="accent4">
            <a:shade val="50000"/>
            <a:hueOff val="190598"/>
            <a:satOff val="-19022"/>
            <a:lumOff val="20627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72577" tIns="0" rIns="172577" bIns="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>
              <a:latin typeface="Arial Narrow" panose="020B0606020202030204" pitchFamily="34" charset="0"/>
            </a:rPr>
            <a:t>Идентификация и оценка рисков</a:t>
          </a:r>
        </a:p>
      </dsp:txBody>
      <dsp:txXfrm>
        <a:off x="349192" y="4512296"/>
        <a:ext cx="4472511" cy="821251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D54B748-D138-4A95-BBD9-9A3E2F0558FF}">
      <dsp:nvSpPr>
        <dsp:cNvPr id="0" name=""/>
        <dsp:cNvSpPr/>
      </dsp:nvSpPr>
      <dsp:spPr>
        <a:xfrm>
          <a:off x="3478753" y="1876425"/>
          <a:ext cx="2773514" cy="1205229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Контроль за деятельностью подрядных организаций</a:t>
          </a:r>
        </a:p>
      </dsp:txBody>
      <dsp:txXfrm>
        <a:off x="3514053" y="1911725"/>
        <a:ext cx="2702914" cy="1134629"/>
      </dsp:txXfrm>
    </dsp:sp>
    <dsp:sp modelId="{4BA3036D-F178-40AC-A9F3-6540FD725A9C}">
      <dsp:nvSpPr>
        <dsp:cNvPr id="0" name=""/>
        <dsp:cNvSpPr/>
      </dsp:nvSpPr>
      <dsp:spPr>
        <a:xfrm rot="17350740">
          <a:off x="5529536" y="1446406"/>
          <a:ext cx="2152652" cy="32092"/>
        </a:xfrm>
        <a:custGeom>
          <a:avLst/>
          <a:gdLst/>
          <a:ahLst/>
          <a:cxnLst/>
          <a:rect l="0" t="0" r="0" b="0"/>
          <a:pathLst>
            <a:path>
              <a:moveTo>
                <a:pt x="0" y="16046"/>
              </a:moveTo>
              <a:lnTo>
                <a:pt x="2152652" y="16046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6552046" y="1408636"/>
        <a:ext cx="107632" cy="107632"/>
      </dsp:txXfrm>
    </dsp:sp>
    <dsp:sp modelId="{43F38E44-0C76-44A7-A47E-C1FE71215600}">
      <dsp:nvSpPr>
        <dsp:cNvPr id="0" name=""/>
        <dsp:cNvSpPr/>
      </dsp:nvSpPr>
      <dsp:spPr>
        <a:xfrm>
          <a:off x="6959457" y="3872"/>
          <a:ext cx="1767977" cy="883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Учет ОУ, ОД, </a:t>
          </a:r>
          <a:r>
            <a:rPr lang="en-US" sz="2000" kern="1200" dirty="0"/>
            <a:t>NM</a:t>
          </a:r>
          <a:endParaRPr lang="ru-RU" sz="2000" kern="1200" dirty="0"/>
        </a:p>
      </dsp:txBody>
      <dsp:txXfrm>
        <a:off x="6985348" y="29763"/>
        <a:ext cx="1716195" cy="832206"/>
      </dsp:txXfrm>
    </dsp:sp>
    <dsp:sp modelId="{859E2723-F93C-4827-B9AC-A80140658D65}">
      <dsp:nvSpPr>
        <dsp:cNvPr id="0" name=""/>
        <dsp:cNvSpPr/>
      </dsp:nvSpPr>
      <dsp:spPr>
        <a:xfrm rot="18289469">
          <a:off x="5986675" y="1954700"/>
          <a:ext cx="1238372" cy="32092"/>
        </a:xfrm>
        <a:custGeom>
          <a:avLst/>
          <a:gdLst/>
          <a:ahLst/>
          <a:cxnLst/>
          <a:rect l="0" t="0" r="0" b="0"/>
          <a:pathLst>
            <a:path>
              <a:moveTo>
                <a:pt x="0" y="16046"/>
              </a:moveTo>
              <a:lnTo>
                <a:pt x="1238372" y="16046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800" kern="1200"/>
        </a:p>
      </dsp:txBody>
      <dsp:txXfrm>
        <a:off x="6574903" y="1939787"/>
        <a:ext cx="61918" cy="61918"/>
      </dsp:txXfrm>
    </dsp:sp>
    <dsp:sp modelId="{03B1A58D-DE78-4FCB-9C73-AFB25021E2AC}">
      <dsp:nvSpPr>
        <dsp:cNvPr id="0" name=""/>
        <dsp:cNvSpPr/>
      </dsp:nvSpPr>
      <dsp:spPr>
        <a:xfrm>
          <a:off x="6959457" y="1020458"/>
          <a:ext cx="1767977" cy="883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Учет применения СТОП-карт</a:t>
          </a:r>
        </a:p>
      </dsp:txBody>
      <dsp:txXfrm>
        <a:off x="6985348" y="1046349"/>
        <a:ext cx="1716195" cy="832206"/>
      </dsp:txXfrm>
    </dsp:sp>
    <dsp:sp modelId="{50F97A67-D6EB-486B-80B3-F4E92692A63E}">
      <dsp:nvSpPr>
        <dsp:cNvPr id="0" name=""/>
        <dsp:cNvSpPr/>
      </dsp:nvSpPr>
      <dsp:spPr>
        <a:xfrm>
          <a:off x="6252267" y="2462993"/>
          <a:ext cx="707190" cy="32092"/>
        </a:xfrm>
        <a:custGeom>
          <a:avLst/>
          <a:gdLst/>
          <a:ahLst/>
          <a:cxnLst/>
          <a:rect l="0" t="0" r="0" b="0"/>
          <a:pathLst>
            <a:path>
              <a:moveTo>
                <a:pt x="0" y="16046"/>
              </a:moveTo>
              <a:lnTo>
                <a:pt x="707190" y="16046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800" kern="1200"/>
        </a:p>
      </dsp:txBody>
      <dsp:txXfrm>
        <a:off x="6588182" y="2461360"/>
        <a:ext cx="35359" cy="35359"/>
      </dsp:txXfrm>
    </dsp:sp>
    <dsp:sp modelId="{899EE3E4-D10B-4D3C-8EB8-E1704A0A63EC}">
      <dsp:nvSpPr>
        <dsp:cNvPr id="0" name=""/>
        <dsp:cNvSpPr/>
      </dsp:nvSpPr>
      <dsp:spPr>
        <a:xfrm>
          <a:off x="6959457" y="2037045"/>
          <a:ext cx="1767977" cy="883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Учет проведенных ПАБ</a:t>
          </a:r>
        </a:p>
      </dsp:txBody>
      <dsp:txXfrm>
        <a:off x="6985348" y="2062936"/>
        <a:ext cx="1716195" cy="832206"/>
      </dsp:txXfrm>
    </dsp:sp>
    <dsp:sp modelId="{BA2D9B3A-84BF-4132-B575-2E54EF222BB1}">
      <dsp:nvSpPr>
        <dsp:cNvPr id="0" name=""/>
        <dsp:cNvSpPr/>
      </dsp:nvSpPr>
      <dsp:spPr>
        <a:xfrm rot="3310531">
          <a:off x="5986675" y="2971287"/>
          <a:ext cx="1238372" cy="32092"/>
        </a:xfrm>
        <a:custGeom>
          <a:avLst/>
          <a:gdLst/>
          <a:ahLst/>
          <a:cxnLst/>
          <a:rect l="0" t="0" r="0" b="0"/>
          <a:pathLst>
            <a:path>
              <a:moveTo>
                <a:pt x="0" y="16046"/>
              </a:moveTo>
              <a:lnTo>
                <a:pt x="1238372" y="16046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800" kern="1200"/>
        </a:p>
      </dsp:txBody>
      <dsp:txXfrm>
        <a:off x="6574903" y="2956374"/>
        <a:ext cx="61918" cy="61918"/>
      </dsp:txXfrm>
    </dsp:sp>
    <dsp:sp modelId="{15DEFE25-3D6E-4D59-9EB0-2CE543B05CFE}">
      <dsp:nvSpPr>
        <dsp:cNvPr id="0" name=""/>
        <dsp:cNvSpPr/>
      </dsp:nvSpPr>
      <dsp:spPr>
        <a:xfrm>
          <a:off x="6959457" y="3053632"/>
          <a:ext cx="1767977" cy="883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Проведение внутренних расследований</a:t>
          </a:r>
        </a:p>
      </dsp:txBody>
      <dsp:txXfrm>
        <a:off x="6985348" y="3079523"/>
        <a:ext cx="1716195" cy="832206"/>
      </dsp:txXfrm>
    </dsp:sp>
    <dsp:sp modelId="{A5144E78-1D98-47CD-9B88-5EB6A99BCFD1}">
      <dsp:nvSpPr>
        <dsp:cNvPr id="0" name=""/>
        <dsp:cNvSpPr/>
      </dsp:nvSpPr>
      <dsp:spPr>
        <a:xfrm rot="4249260">
          <a:off x="5529536" y="3479580"/>
          <a:ext cx="2152652" cy="32092"/>
        </a:xfrm>
        <a:custGeom>
          <a:avLst/>
          <a:gdLst/>
          <a:ahLst/>
          <a:cxnLst/>
          <a:rect l="0" t="0" r="0" b="0"/>
          <a:pathLst>
            <a:path>
              <a:moveTo>
                <a:pt x="0" y="16046"/>
              </a:moveTo>
              <a:lnTo>
                <a:pt x="2152652" y="16046"/>
              </a:lnTo>
            </a:path>
          </a:pathLst>
        </a:custGeom>
        <a:noFill/>
        <a:ln w="254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ru-RU" sz="1000" kern="1200"/>
        </a:p>
      </dsp:txBody>
      <dsp:txXfrm>
        <a:off x="6552046" y="3441810"/>
        <a:ext cx="107632" cy="107632"/>
      </dsp:txXfrm>
    </dsp:sp>
    <dsp:sp modelId="{94B9BDB7-C7B5-4A08-85B3-EDE640582074}">
      <dsp:nvSpPr>
        <dsp:cNvPr id="0" name=""/>
        <dsp:cNvSpPr/>
      </dsp:nvSpPr>
      <dsp:spPr>
        <a:xfrm>
          <a:off x="6959457" y="4070219"/>
          <a:ext cx="1767977" cy="88398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2000" kern="1200" dirty="0"/>
            <a:t>Проведение и учет проверок</a:t>
          </a:r>
        </a:p>
      </dsp:txBody>
      <dsp:txXfrm>
        <a:off x="6985348" y="4096110"/>
        <a:ext cx="1716195" cy="83220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HorizontalOrganizationChart">
  <dgm:title val=""/>
  <dgm:desc val=""/>
  <dgm:catLst>
    <dgm:cat type="hierarchy" pri="43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305"/>
      <dgm:constr type="w" for="des" forName="rootComposite" refType="w" fact="10"/>
      <dgm:constr type="h" for="des" forName="rootComposite" refType="w" refFor="des" refForName="rootComposite1" fact="0.305"/>
      <dgm:constr type="w" for="des" forName="rootComposite3" refType="w" fact="10"/>
      <dgm:constr type="h" for="des" forName="rootComposite3" refType="w" refFor="des" refForName="rootComposite1" fact="0.305"/>
      <dgm:constr type="primFontSz" for="des" ptType="node" op="equ"/>
      <dgm:constr type="sp" for="des" op="equ"/>
      <dgm:constr type="sp" for="des" forName="hierRoot1" refType="w" refFor="des" refForName="rootComposite1" fact="0.2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125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125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func="var" arg="dir" op="equ" val="norm">
                  <dgm:alg type="hierRoot">
                    <dgm:param type="hierAlign" val="lT"/>
                  </dgm:alg>
                  <dgm:constrLst>
                    <dgm:constr type="alignOff" val="0.75"/>
                  </dgm:constrLst>
                </dgm:if>
                <dgm:else name="Name9">
                  <dgm:alg type="hierRoot">
                    <dgm:param type="hierAlign" val="rT"/>
                  </dgm:alg>
                  <dgm:constrLst>
                    <dgm:constr type="alignOff" val="0.75"/>
                  </dgm:constrLst>
                </dgm:else>
              </dgm:choose>
            </dgm:if>
            <dgm:if name="Name10" func="var" arg="hierBranch" op="equ" val="r">
              <dgm:choose name="Name11">
                <dgm:if name="Name12" func="var" arg="dir" op="equ" val="norm">
                  <dgm:alg type="hierRoot">
                    <dgm:param type="hierAlign" val="lB"/>
                  </dgm:alg>
                  <dgm:constrLst>
                    <dgm:constr type="alignOff" val="0.75"/>
                  </dgm:constrLst>
                </dgm:if>
                <dgm:else name="Name13">
                  <dgm:alg type="hierRoot">
                    <dgm:param type="hierAlign" val="rB"/>
                  </dgm:alg>
                  <dgm:constrLst>
                    <dgm:constr type="alignOff" val="0.75"/>
                  </dgm:constrLst>
                </dgm:else>
              </dgm:choose>
            </dgm:if>
            <dgm:if name="Name14" func="var" arg="hierBranch" op="equ" val="hang">
              <dgm:choose name="Name15">
                <dgm:if name="Name16" func="var" arg="dir" op="equ" val="norm">
                  <dgm:alg type="hierRoot">
                    <dgm:param type="hierAlign" val="lCtrCh"/>
                  </dgm:alg>
                  <dgm:constrLst>
                    <dgm:constr type="alignOff" val="0.65"/>
                  </dgm:constrLst>
                </dgm:if>
                <dgm:else name="Name17">
                  <dgm:alg type="hierRoot">
                    <dgm:param type="hierAlign" val="rCtrCh"/>
                  </dgm:alg>
                  <dgm:constrLst>
                    <dgm:constr type="alignOff" val="0.65"/>
                  </dgm:constrLst>
                </dgm:else>
              </dgm:choose>
            </dgm:if>
            <dgm:else name="Name18">
              <dgm:choose name="Name19">
                <dgm:if name="Name20" func="var" arg="dir" op="equ" val="norm">
                  <dgm:alg type="hierRoot">
                    <dgm:param type="hierAlign" val="l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if>
                <dgm:else name="Name21">
                  <dgm:alg type="hierRoot">
                    <dgm:param type="hierAlign" val="rCtrCh"/>
                  </dgm:alg>
                  <dgm:constrLst>
                    <dgm:constr type="alignOff"/>
                    <dgm:constr type="bendDist" for="des" ptType="parTrans" refType="sp" fact="0.5"/>
                  </dgm:constrLst>
                </dgm:else>
              </dgm:choose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22">
              <dgm:if name="Name23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4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25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6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7">
              <dgm:if name="Name28" func="var" arg="hierBranch" op="equ" val="l">
                <dgm:choose name="Name29">
                  <dgm:if name="Name30" func="var" arg="dir" op="equ" val="norm">
                    <dgm:alg type="hierChild">
                      <dgm:param type="chAlign" val="t"/>
                      <dgm:param type="linDir" val="fromL"/>
                    </dgm:alg>
                  </dgm:if>
                  <dgm:else name="Name31">
                    <dgm:alg type="hierChild">
                      <dgm:param type="chAlign" val="t"/>
                      <dgm:param type="linDir" val="fromR"/>
                    </dgm:alg>
                  </dgm:else>
                </dgm:choose>
              </dgm:if>
              <dgm:if name="Name32" func="var" arg="hierBranch" op="equ" val="r">
                <dgm:choose name="Name33">
                  <dgm:if name="Name34" func="var" arg="dir" op="equ" val="norm">
                    <dgm:alg type="hierChild">
                      <dgm:param type="chAlign" val="b"/>
                      <dgm:param type="linDir" val="fromL"/>
                    </dgm:alg>
                  </dgm:if>
                  <dgm:else name="Name35">
                    <dgm:alg type="hierChild">
                      <dgm:param type="chAlign" val="b"/>
                      <dgm:param type="linDir" val="fromR"/>
                    </dgm:alg>
                  </dgm:else>
                </dgm:choose>
              </dgm:if>
              <dgm:if name="Name36" func="var" arg="hierBranch" op="equ" val="hang">
                <dgm:choose name="Name37">
                  <dgm:if name="Name38" func="var" arg="dir" op="equ" val="norm">
                    <dgm:alg type="hierChild">
                      <dgm:param type="chAlign" val="l"/>
                      <dgm:param type="linDir" val="fromT"/>
                      <dgm:param type="secChAlign" val="t"/>
                      <dgm:param type="secLinDir" val="fromL"/>
                    </dgm:alg>
                  </dgm:if>
                  <dgm:else name="Name39">
                    <dgm:alg type="hierChild">
                      <dgm:param type="chAlign" val="r"/>
                      <dgm:param type="linDir" val="fromT"/>
                      <dgm:param type="secChAlign" val="t"/>
                      <dgm:param type="secLinDir" val="fromR"/>
                    </dgm:alg>
                  </dgm:else>
                </dgm:choose>
              </dgm:if>
              <dgm:else name="Name40">
                <dgm:choose name="Name41">
                  <dgm:if name="Name42" func="var" arg="dir" op="equ" val="norm">
                    <dgm:alg type="hierChild">
                      <dgm:param type="linDir" val="fromT"/>
                      <dgm:param type="chAlign" val="l"/>
                    </dgm:alg>
                  </dgm:if>
                  <dgm:else name="Name43">
                    <dgm:alg type="hierChild">
                      <dgm:param type="linDir" val="fromT"/>
                      <dgm:param type="chAlign" val="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44" axis="precedSib" ptType="parTrans" st="-1" cnt="1">
                <dgm:choose name="Name45">
                  <dgm:if name="Name46" func="var" arg="hierBranch" op="equ" val="hang">
                    <dgm:layoutNode name="Name47">
                      <dgm:choose name="Name48">
                        <dgm:if name="Name4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 tCtr"/>
                          </dgm:alg>
                        </dgm:if>
                        <dgm:else name="Name5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 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1" func="var" arg="hierBranch" op="equ" val="l">
                    <dgm:layoutNode name="Name52">
                      <dgm:choose name="Name53">
                        <dgm:if name="Name54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tCtr"/>
                          </dgm:alg>
                        </dgm:if>
                        <dgm:else name="Name55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t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56" func="var" arg="hierBranch" op="equ" val="r">
                    <dgm:layoutNode name="Name57">
                      <dgm:choose name="Name58">
                        <dgm:if name="Name59" func="var" arg="dir" op="equ" val="norm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bCtr"/>
                          </dgm:alg>
                        </dgm:if>
                        <dgm:else name="Name6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bCtr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61">
                    <dgm:choose name="Name62">
                      <dgm:if name="Name63" func="var" arg="dir" op="equ" val="norm">
                        <dgm:layoutNode name="Name6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R"/>
                            <dgm:param type="endPts" val="midL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if>
                      <dgm:else name="Name65">
                        <dgm:layoutNode name="Name66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midL"/>
                            <dgm:param type="endPts" val="midR"/>
                            <dgm:param type="bendPt" val="end"/>
                          </dgm:alg>
                          <dgm:shape xmlns:r="http://schemas.openxmlformats.org/officeDocument/2006/relationships" type="conn" r:blip="" zOrderOff="-99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else>
                    </dgm:choos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7">
                  <dgm:if name="Name68" func="var" arg="hierBranch" op="equ" val="l">
                    <dgm:choose name="Name69">
                      <dgm:if name="Name70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71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2" func="var" arg="hierBranch" op="equ" val="r">
                    <dgm:choose name="Name73">
                      <dgm:if name="Name74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75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76" func="var" arg="hierBranch" op="equ" val="hang">
                    <dgm:choose name="Name77">
                      <dgm:if name="Name78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79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80">
                    <dgm:choose name="Name81">
                      <dgm:if name="Name82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83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84">
                    <dgm:if name="Name85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6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7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8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9">
                    <dgm:if name="Name90" func="var" arg="hierBranch" op="equ" val="l">
                      <dgm:choose name="Name91">
                        <dgm:if name="Name92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93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r">
                      <dgm:choose name="Name95">
                        <dgm:if name="Name96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97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98" func="var" arg="hierBranch" op="equ" val="hang">
                      <dgm:choose name="Name99">
                        <dgm:if name="Name100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01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05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a"/>
                </dgm:layoutNode>
                <dgm:layoutNode name="hierChild5">
                  <dgm:choose name="Name107">
                    <dgm:if name="Name108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09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10" ref="rep2b"/>
                </dgm:layoutNode>
              </dgm:layoutNode>
            </dgm:forEach>
          </dgm:layoutNode>
          <dgm:layoutNode name="hierChild3">
            <dgm:choose name="Name111">
              <dgm:if name="Name112" func="var" arg="dir" op="equ" val="norm">
                <dgm:alg type="hierChild">
                  <dgm:param type="chAlign" val="l"/>
                  <dgm:param type="linDir" val="fromT"/>
                  <dgm:param type="secChAlign" val="t"/>
                  <dgm:param type="secLinDir" val="fromL"/>
                </dgm:alg>
              </dgm:if>
              <dgm:else name="Name113">
                <dgm:alg type="hierChild">
                  <dgm:param type="chAlign" val="r"/>
                  <dgm:param type="linDir" val="fromT"/>
                  <dgm:param type="secChAlign" val="t"/>
                  <dgm:param type="sec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4" axis="precedSib" ptType="parTrans" st="-1" cnt="1">
                <dgm:layoutNode name="Name115">
                  <dgm:choose name="Name116">
                    <dgm:if name="Name117" func="var" arg="dir" op="equ" val="norm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R"/>
                        <dgm:param type="endPts" val="bCtr tCtr"/>
                      </dgm:alg>
                    </dgm:if>
                    <dgm:else name="Name11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midL"/>
                        <dgm:param type="endPts" val="bCtr tCtr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9">
                  <dgm:if name="Name120" func="var" arg="hierBranch" op="equ" val="l">
                    <dgm:choose name="Name121">
                      <dgm:if name="Name122" func="var" arg="dir" op="equ" val="norm">
                        <dgm:alg type="hierRoot">
                          <dgm:param type="hierAlign" val="lT"/>
                        </dgm:alg>
                        <dgm:constrLst>
                          <dgm:constr type="alignOff" val="0.75"/>
                        </dgm:constrLst>
                      </dgm:if>
                      <dgm:else name="Name123">
                        <dgm:alg type="hierRoot">
                          <dgm:param type="hierAlign" val="rT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4" func="var" arg="hierBranch" op="equ" val="r">
                    <dgm:choose name="Name125">
                      <dgm:if name="Name126" func="var" arg="dir" op="equ" val="norm">
                        <dgm:alg type="hierRoot">
                          <dgm:param type="hierAlign" val="lB"/>
                        </dgm:alg>
                        <dgm:constrLst>
                          <dgm:constr type="alignOff" val="0.75"/>
                        </dgm:constrLst>
                      </dgm:if>
                      <dgm:else name="Name127">
                        <dgm:alg type="hierRoot">
                          <dgm:param type="hierAlign" val="rB"/>
                        </dgm:alg>
                        <dgm:constrLst>
                          <dgm:constr type="alignOff" val="0.75"/>
                        </dgm:constrLst>
                      </dgm:else>
                    </dgm:choose>
                  </dgm:if>
                  <dgm:if name="Name128" func="var" arg="hierBranch" op="equ" val="hang">
                    <dgm:choose name="Name129">
                      <dgm:if name="Name130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 val="0.65"/>
                        </dgm:constrLst>
                      </dgm:if>
                      <dgm:else name="Name131">
                        <dgm:alg type="hierRoot">
                          <dgm:param type="hierAlign" val="rCtrCh"/>
                        </dgm:alg>
                        <dgm:constrLst>
                          <dgm:constr type="alignOff" val="0.65"/>
                        </dgm:constrLst>
                      </dgm:else>
                    </dgm:choose>
                  </dgm:if>
                  <dgm:else name="Name132">
                    <dgm:choose name="Name133">
                      <dgm:if name="Name134" func="var" arg="dir" op="equ" val="norm">
                        <dgm:alg type="hierRoot">
                          <dgm:param type="hierAlign" val="l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if>
                      <dgm:else name="Name135">
                        <dgm:alg type="hierRoot">
                          <dgm:param type="hierAlign" val="rCtrCh"/>
                        </dgm:alg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36">
                    <dgm:if name="Name137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8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39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40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41">
                    <dgm:if name="Name142" func="var" arg="hierBranch" op="equ" val="l">
                      <dgm:choose name="Name143">
                        <dgm:if name="Name144" func="var" arg="dir" op="equ" val="norm">
                          <dgm:alg type="hierChild">
                            <dgm:param type="chAlign" val="t"/>
                            <dgm:param type="linDir" val="fromL"/>
                          </dgm:alg>
                        </dgm:if>
                        <dgm:else name="Name145">
                          <dgm:alg type="hierChild">
                            <dgm:param type="chAlign" val="t"/>
                            <dgm:param type="linDir" val="fromR"/>
                          </dgm:alg>
                        </dgm:else>
                      </dgm:choose>
                    </dgm:if>
                    <dgm:if name="Name146" func="var" arg="hierBranch" op="equ" val="r">
                      <dgm:choose name="Name147">
                        <dgm:if name="Name148" func="var" arg="dir" op="equ" val="norm">
                          <dgm:alg type="hierChild">
                            <dgm:param type="chAlign" val="b"/>
                            <dgm:param type="linDir" val="fromL"/>
                          </dgm:alg>
                        </dgm:if>
                        <dgm:else name="Name149">
                          <dgm:alg type="hierChild">
                            <dgm:param type="chAlign" val="b"/>
                            <dgm:param type="linDir" val="fromR"/>
                          </dgm:alg>
                        </dgm:else>
                      </dgm:choose>
                    </dgm:if>
                    <dgm:if name="Name150" func="var" arg="hierBranch" op="equ" val="hang">
                      <dgm:choose name="Name151">
                        <dgm:if name="Name152" func="var" arg="dir" op="equ" val="norm">
                          <dgm:alg type="hierChild">
                            <dgm:param type="chAlign" val="l"/>
                            <dgm:param type="linDir" val="fromT"/>
                            <dgm:param type="secChAlign" val="t"/>
                            <dgm:param type="secLinDir" val="fromL"/>
                          </dgm:alg>
                        </dgm:if>
                        <dgm:else name="Name153">
                          <dgm:alg type="hierChild">
                            <dgm:param type="chAlign" val="r"/>
                            <dgm:param type="linDir" val="fromT"/>
                            <dgm:param type="secChAlign" val="t"/>
                            <dgm:param type="secLinDir" val="fromR"/>
                          </dgm:alg>
                        </dgm:else>
                      </dgm:choose>
                    </dgm:if>
                    <dgm:else name="Name154">
                      <dgm:choose name="Name155">
                        <dgm:if name="Name156" func="var" arg="dir" op="equ" val="norm">
                          <dgm:alg type="hierChild">
                            <dgm:param type="linDir" val="fromT"/>
                            <dgm:param type="chAlign" val="l"/>
                          </dgm:alg>
                        </dgm:if>
                        <dgm:else name="Name157">
                          <dgm:alg type="hierChild">
                            <dgm:param type="linDir" val="fromT"/>
                            <dgm:param type="ch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58" ref="rep2a"/>
                </dgm:layoutNode>
                <dgm:layoutNode name="hierChild7">
                  <dgm:choose name="Name159">
                    <dgm:if name="Name160" func="var" arg="dir" op="equ" val="norm">
                      <dgm:alg type="hierChild">
                        <dgm:param type="chAlign" val="l"/>
                        <dgm:param type="linDir" val="fromT"/>
                        <dgm:param type="secChAlign" val="t"/>
                        <dgm:param type="secLinDir" val="fromL"/>
                      </dgm:alg>
                    </dgm:if>
                    <dgm:else name="Name161">
                      <dgm:alg type="hierChild">
                        <dgm:param type="chAlign" val="r"/>
                        <dgm:param type="linDir" val="fromT"/>
                        <dgm:param type="secChAlign" val="t"/>
                        <dgm:param type="sec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62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LinedList">
  <dgm:title val=""/>
  <dgm:desc val=""/>
  <dgm:catLst>
    <dgm:cat type="hierarchy" pri="8000"/>
    <dgm:cat type="list" pri="2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clrData>
  <dgm:layoutNode name="vert0">
    <dgm:varLst>
      <dgm:dir/>
      <dgm:animOne val="branch"/>
      <dgm:animLvl val="lvl"/>
    </dgm:varLst>
    <dgm:choose name="Name0">
      <dgm:if name="Name1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horz1" refType="w"/>
      <dgm:constr type="h" for="ch" forName="horz1" refType="h"/>
      <dgm:constr type="h" for="des" forName="vert1" refType="h"/>
      <dgm:constr type="h" for="des" forName="tx1" refType="h"/>
      <dgm:constr type="h" for="des" forName="horz2" refType="h"/>
      <dgm:constr type="h" for="des" forName="vert2" refType="h"/>
      <dgm:constr type="h" for="des" forName="horz3" refType="h"/>
      <dgm:constr type="h" for="des" forName="vert3" refType="h"/>
      <dgm:constr type="h" for="des" forName="horz4" refType="h"/>
      <dgm:constr type="h" for="des" ptType="node" refType="h"/>
      <dgm:constr type="primFontSz" for="des" forName="tx1" op="equ" val="65"/>
      <dgm:constr type="primFontSz" for="des" forName="tx2" op="equ" val="65"/>
      <dgm:constr type="primFontSz" for="des" forName="tx3" op="equ" val="65"/>
      <dgm:constr type="primFontSz" for="des" forName="tx4" op="equ" val="65"/>
      <dgm:constr type="w" for="des" forName="thickLine" refType="w"/>
      <dgm:constr type="h" for="des" forName="thickLine"/>
      <dgm:constr type="h" for="des" forName="thinLine1"/>
      <dgm:constr type="h" for="des" forName="thinLine2b"/>
      <dgm:constr type="h" for="des" forName="thinLine3"/>
      <dgm:constr type="h" for="des" forName="vertSpace2a" refType="h" fact="0.05"/>
      <dgm:constr type="h" for="des" forName="vertSpace2b" refType="h" refFor="des" refForName="vertSpace2a"/>
    </dgm:constrLst>
    <dgm:forEach name="Name3" axis="ch" ptType="node">
      <dgm:layoutNode name="thickLine" styleLbl="alignNode1">
        <dgm:alg type="sp"/>
        <dgm:shape xmlns:r="http://schemas.openxmlformats.org/officeDocument/2006/relationships" type="line" r:blip="">
          <dgm:adjLst/>
        </dgm:shape>
        <dgm:presOf/>
      </dgm:layoutNode>
      <dgm:layoutNode name="horz1">
        <dgm:choose name="Name4">
          <dgm:if name="Name5" func="var" arg="dir" op="equ" val="norm">
            <dgm:alg type="lin">
              <dgm:param type="linDir" val="fromL"/>
              <dgm:param type="nodeVertAlign" val="t"/>
            </dgm:alg>
          </dgm:if>
          <dgm:else name="Name6">
            <dgm:alg type="lin">
              <dgm:param type="linDir" val="fromR"/>
              <dgm:param type="nodeVertAlign" val="t"/>
            </dgm:alg>
          </dgm:else>
        </dgm:choose>
        <dgm:shape xmlns:r="http://schemas.openxmlformats.org/officeDocument/2006/relationships" r:blip="">
          <dgm:adjLst/>
        </dgm:shape>
        <dgm:presOf/>
        <dgm:choose name="Name7">
          <dgm:if name="Name8" axis="root des" func="maxDepth" op="equ" val="1">
            <dgm:constrLst>
              <dgm:constr type="w" for="ch" forName="tx1" refType="w"/>
            </dgm:constrLst>
          </dgm:if>
          <dgm:if name="Name9" axis="root des" func="maxDepth" op="equ" val="2">
            <dgm:constrLst>
              <dgm:constr type="w" for="ch" forName="tx1" refType="w" fact="0.2"/>
              <dgm:constr type="w" for="des" forName="tx2" refType="w" fact="0.785"/>
              <dgm:constr type="w" for="des" forName="horzSpace2" refType="w" fact="0.015"/>
              <dgm:constr type="w" for="des" forName="thinLine2b" refType="w" fact="0.8"/>
            </dgm:constrLst>
          </dgm:if>
          <dgm:if name="Name10" axis="root des" func="maxDepth" op="equ" val="3">
            <dgm:constrLst>
              <dgm:constr type="w" for="ch" forName="tx1" refType="w" fact="0.2"/>
              <dgm:constr type="w" for="des" forName="tx2" refType="w" fact="0.385"/>
              <dgm:constr type="w" for="des" forName="tx3" refType="w" fact="0.385"/>
              <dgm:constr type="w" for="des" forName="horzSpace2" refType="w" fact="0.015"/>
              <dgm:constr type="w" for="des" forName="horzSpace3" refType="w" fact="0.015"/>
              <dgm:constr type="w" for="des" forName="thinLine2b" refType="w" fact="0.8"/>
              <dgm:constr type="w" for="des" forName="thinLine3" refType="w" fact="0.385"/>
            </dgm:constrLst>
          </dgm:if>
          <dgm:if name="Name11" axis="root des" func="maxDepth" op="gte" val="4">
            <dgm:constrLst>
              <dgm:constr type="w" for="ch" forName="tx1" refType="w" fact="0.2"/>
              <dgm:constr type="w" for="des" forName="tx2" refType="w" fact="0.2516"/>
              <dgm:constr type="w" for="des" forName="tx3" refType="w" fact="0.2516"/>
              <dgm:constr type="w" for="des" forName="tx4" refType="w" fact="0.2516"/>
              <dgm:constr type="w" for="des" forName="horzSpace2" refType="w" fact="0.015"/>
              <dgm:constr type="w" for="des" forName="horzSpace3" refType="w" fact="0.015"/>
              <dgm:constr type="w" for="des" forName="horzSpace4" refType="w" fact="0.015"/>
              <dgm:constr type="w" for="des" forName="thinLine2b" refType="w" fact="0.8"/>
              <dgm:constr type="w" for="des" forName="thinLine3" refType="w" fact="0.5332"/>
            </dgm:constrLst>
          </dgm:if>
          <dgm:else name="Name12"/>
        </dgm:choose>
        <dgm:layoutNode name="tx1" styleLbl="revTx">
          <dgm:alg type="tx">
            <dgm:param type="parTxLTRAlign" val="l"/>
            <dgm:param type="parTxRTLAlign" val="r"/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vert1">
          <dgm:choose name="Name13">
            <dgm:if name="Name14" func="var" arg="dir" op="equ" val="norm">
              <dgm:alg type="lin">
                <dgm:param type="linDir" val="fromT"/>
                <dgm:param type="nodeHorzAlign" val="l"/>
              </dgm:alg>
            </dgm:if>
            <dgm:else name="Name15">
              <dgm:alg type="lin">
                <dgm:param type="linDir" val="fromT"/>
                <dgm:param type="nodeHorzAlign" val="r"/>
              </dgm:alg>
            </dgm:else>
          </dgm:choose>
          <dgm:shape xmlns:r="http://schemas.openxmlformats.org/officeDocument/2006/relationships" r:blip="">
            <dgm:adjLst/>
          </dgm:shape>
          <dgm:presOf/>
          <dgm:forEach name="Name16" axis="ch" ptType="node">
            <dgm:choose name="Name17">
              <dgm:if name="Name18" axis="self" ptType="node" func="pos" op="equ" val="1">
                <dgm:layoutNode name="vertSpace2a">
                  <dgm:alg type="sp"/>
                  <dgm:shape xmlns:r="http://schemas.openxmlformats.org/officeDocument/2006/relationships" r:blip="">
                    <dgm:adjLst/>
                  </dgm:shape>
                  <dgm:presOf/>
                </dgm:layoutNode>
              </dgm:if>
              <dgm:else name="Name19"/>
            </dgm:choose>
            <dgm:layoutNode name="horz2">
              <dgm:choose name="Name20">
                <dgm:if name="Name21" func="var" arg="dir" op="equ" val="norm">
                  <dgm:alg type="lin">
                    <dgm:param type="linDir" val="fromL"/>
                    <dgm:param type="nodeVertAlign" val="t"/>
                  </dgm:alg>
                </dgm:if>
                <dgm:else name="Name22">
                  <dgm:alg type="lin">
                    <dgm:param type="linDir" val="fromR"/>
                    <dgm:param type="nodeVertAlign" val="t"/>
                  </dgm:alg>
                </dgm:else>
              </dgm:choose>
              <dgm:shape xmlns:r="http://schemas.openxmlformats.org/officeDocument/2006/relationships" r:blip="">
                <dgm:adjLst/>
              </dgm:shape>
              <dgm:presOf/>
              <dgm:layoutNode name="horzSpace2">
                <dgm:alg type="sp"/>
                <dgm:shape xmlns:r="http://schemas.openxmlformats.org/officeDocument/2006/relationships" r:blip="">
                  <dgm:adjLst/>
                </dgm:shape>
                <dgm:presOf/>
              </dgm:layoutNode>
              <dgm:layoutNode name="tx2" styleLbl="revTx">
                <dgm:alg type="tx">
                  <dgm:param type="parTxLTRAlign" val="l"/>
                  <dgm:param type="parTxRTLAlign" val="r"/>
                  <dgm:param type="txAnchorVert" val="t"/>
                </dgm:alg>
                <dgm:shape xmlns:r="http://schemas.openxmlformats.org/officeDocument/2006/relationships" type="rect" r:blip="">
                  <dgm:adjLst/>
                </dgm:shape>
                <dgm:presOf axis="self"/>
                <dgm:constrLst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vert2">
                <dgm:choose name="Name23">
                  <dgm:if name="Name24" func="var" arg="dir" op="equ" val="norm">
                    <dgm:alg type="lin">
                      <dgm:param type="linDir" val="fromT"/>
                      <dgm:param type="nodeHorzAlign" val="l"/>
                    </dgm:alg>
                  </dgm:if>
                  <dgm:else name="Name25">
                    <dgm:alg type="lin">
                      <dgm:param type="linDir" val="fromT"/>
                      <dgm:param type="nodeHorzAlign" val="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forEach name="Name26" axis="ch" ptType="node">
                  <dgm:layoutNode name="horz3">
                    <dgm:choose name="Name27">
                      <dgm:if name="Name28" func="var" arg="dir" op="equ" val="norm">
                        <dgm:alg type="lin">
                          <dgm:param type="linDir" val="fromL"/>
                          <dgm:param type="nodeVertAlign" val="t"/>
                        </dgm:alg>
                      </dgm:if>
                      <dgm:else name="Name29">
                        <dgm:alg type="lin">
                          <dgm:param type="linDir" val="fromR"/>
                          <dgm:param type="nodeVertAlign" val="t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layoutNode name="horzSpace3">
                      <dgm:alg type="sp"/>
                      <dgm:shape xmlns:r="http://schemas.openxmlformats.org/officeDocument/2006/relationships" r:blip="">
                        <dgm:adjLst/>
                      </dgm:shape>
                      <dgm:presOf/>
                    </dgm:layoutNode>
                    <dgm:layoutNode name="tx3" styleLbl="revTx">
                      <dgm:alg type="tx">
                        <dgm:param type="parTxLTRAlign" val="l"/>
                        <dgm:param type="parTxRTLAlign" val="r"/>
                        <dgm:param type="txAnchorVert" val="t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vert3">
                      <dgm:choose name="Name30">
                        <dgm:if name="Name31" func="var" arg="dir" op="equ" val="norm">
                          <dgm:alg type="lin">
                            <dgm:param type="linDir" val="fromT"/>
                            <dgm:param type="nodeHorzAlign" val="l"/>
                          </dgm:alg>
                        </dgm:if>
                        <dgm:else name="Name32">
                          <dgm:alg type="lin">
                            <dgm:param type="linDir" val="fromT"/>
                            <dgm:param type="nodeHorzAlign" val="r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forEach name="Name33" axis="ch" ptType="node">
                        <dgm:layoutNode name="horz4">
                          <dgm:choose name="Name34">
                            <dgm:if name="Name35" func="var" arg="dir" op="equ" val="norm">
                              <dgm:alg type="lin">
                                <dgm:param type="linDir" val="fromL"/>
                                <dgm:param type="nodeVertAlign" val="t"/>
                              </dgm:alg>
                            </dgm:if>
                            <dgm:else name="Name36">
                              <dgm:alg type="lin">
                                <dgm:param type="linDir" val="fromR"/>
                                <dgm:param type="nodeVertAlign" val="t"/>
                              </dgm:alg>
                            </dgm:else>
                          </dgm:choose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layoutNode name="horzSpace4">
                            <dgm:alg type="sp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</dgm:layoutNode>
                          <dgm:layoutNode name="tx4" styleLbl="revTx">
                            <dgm:varLst>
                              <dgm:bulletEnabled val="1"/>
                            </dgm:varLst>
                            <dgm:alg type="tx">
                              <dgm:param type="parTxLTRAlign" val="l"/>
                              <dgm:param type="parTxRTLAlign" val="r"/>
                              <dgm:param type="txAnchorVert" val="t"/>
                            </dgm:alg>
                            <dgm:shape xmlns:r="http://schemas.openxmlformats.org/officeDocument/2006/relationships" type="rect" r:blip="">
                              <dgm:adjLst/>
                            </dgm:shape>
                            <dgm:presOf axis="desOrSelf" ptType="node"/>
                            <dgm:constrLst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</dgm:layoutNode>
                      </dgm:forEach>
                    </dgm:layoutNode>
                  </dgm:layoutNode>
                  <dgm:forEach name="Name37" axis="followSib" ptType="sibTrans" cnt="1">
                    <dgm:layoutNode name="thinLine3" styleLbl="callout">
                      <dgm:alg type="sp"/>
                      <dgm:shape xmlns:r="http://schemas.openxmlformats.org/officeDocument/2006/relationships" type="line" r:blip="">
                        <dgm:adjLst/>
                      </dgm:shape>
                      <dgm:presOf/>
                    </dgm:layoutNode>
                  </dgm:forEach>
                </dgm:forEach>
              </dgm:layoutNode>
            </dgm:layoutNode>
            <dgm:layoutNode name="thinLine2b" styleLbl="callout">
              <dgm:alg type="sp"/>
              <dgm:shape xmlns:r="http://schemas.openxmlformats.org/officeDocument/2006/relationships" type="line" r:blip="">
                <dgm:adjLst/>
              </dgm:shape>
              <dgm:presOf/>
            </dgm:layoutNode>
            <dgm:layoutNode name="vertSpace2b">
              <dgm:alg type="sp"/>
              <dgm:shape xmlns:r="http://schemas.openxmlformats.org/officeDocument/2006/relationships" r:blip="">
                <dgm:adjLst/>
              </dgm:shape>
              <dgm:presOf/>
            </dgm:layoutNode>
          </dgm:forEach>
        </dgm:layoutNode>
      </dgm:layoutNod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454025" y="612775"/>
            <a:ext cx="7640638" cy="429895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4561" y="5252091"/>
            <a:ext cx="573051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01215" y="9423821"/>
            <a:ext cx="533475" cy="1577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0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34630" y="122540"/>
            <a:ext cx="65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7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50842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Arial" panose="020B0604020202020204" pitchFamily="34" charset="0"/>
              <a:buNone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D1929B-695E-4359-A98B-F36A6BDD804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1641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Arial" panose="020B0604020202020204" pitchFamily="34" charset="0"/>
              <a:buNone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D1929B-695E-4359-A98B-F36A6BDD804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4844149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Arial" panose="020B0604020202020204" pitchFamily="34" charset="0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ограмма КАП 20 подготовила мощную основу/почву</a:t>
            </a:r>
            <a:r>
              <a:rPr lang="ru-RU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для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дальнейшего</a:t>
            </a:r>
            <a:r>
              <a:rPr lang="ru-RU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развития культуры безопасности в компании и поставила работу в данном направлении по принципу </a:t>
            </a:r>
            <a:r>
              <a:rPr lang="ru-RU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Деминга</a:t>
            </a:r>
            <a:r>
              <a:rPr lang="ru-RU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, то есть непрерывного совершенствования.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29 июня 2018 года компания стала полноправным участником международного движения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Vision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Zero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 2017-2020 по продвижению концепции нулевого травматизма, в конце</a:t>
            </a:r>
            <a:r>
              <a:rPr lang="ru-RU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2018 года была утверждена программа по развитию Культуры безопасности на 5 лет, которая ежегодно пересматривается и совершенствуется.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акже в ноябре 2018 года компанию вышла на международный 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IPO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Был</a:t>
            </a:r>
            <a:r>
              <a:rPr lang="ru-RU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проведен аудит системы производственной безопасности компанией </a:t>
            </a:r>
            <a:r>
              <a:rPr lang="en-US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SRK</a:t>
            </a:r>
            <a:r>
              <a:rPr lang="ru-RU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В 2018 году разработана и утверждена СД КАП Дорожная карта реализации Плана действий в экологической и социальной сферах (ESAP); </a:t>
            </a:r>
          </a:p>
          <a:p>
            <a:pPr marL="0" indent="0" algn="just">
              <a:buFont typeface="Arial" panose="020B0604020202020204" pitchFamily="34" charset="0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- Цель данного Плана заключается приведение существующей системы охраны труда, окружающей среды и социальной сферы в соответствие передовым международным отраслевым практикам, стандартам международной финансовой корпорации и законодательству стран ОЭСР*;</a:t>
            </a:r>
          </a:p>
          <a:p>
            <a:pPr marL="171450" indent="-171450" algn="just">
              <a:buFontTx/>
              <a:buChar char="-"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сновные тематические направления Плана ESAP: корпоративная сфера, экология и мониторинг, социальная сфера, планирование завершения жизненного цикла предприятий (закрытие/ликвидация), управления отходами производства, охрана труда.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ru-RU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Результаты исследований позволят минимизировать негативное воздействие на окружающую среду и способствовать реализации проекта декарбонизации.</a:t>
            </a:r>
          </a:p>
          <a:p>
            <a:pPr marL="0" indent="0" algn="just">
              <a:buFont typeface="Arial" panose="020B0604020202020204" pitchFamily="34" charset="0"/>
              <a:buNone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D1929B-695E-4359-A98B-F36A6BDD804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4881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Arial" panose="020B0604020202020204" pitchFamily="34" charset="0"/>
              <a:buNone/>
            </a:pP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На основе этих правил разработан Кодекс охраны труда техники безопасности АО «НАК «</a:t>
            </a:r>
            <a:r>
              <a:rPr lang="ru-RU" sz="1200" dirty="0" err="1">
                <a:latin typeface="Arial" panose="020B0604020202020204" pitchFamily="34" charset="0"/>
                <a:cs typeface="Arial" panose="020B0604020202020204" pitchFamily="34" charset="0"/>
              </a:rPr>
              <a:t>Казатомпром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» и Корпоративный план развития культуры безопасности,</a:t>
            </a:r>
            <a:r>
              <a:rPr lang="ru-RU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а также в рамках внедрения правил </a:t>
            </a:r>
            <a:r>
              <a:rPr lang="en-US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Vision Zero</a:t>
            </a:r>
            <a:r>
              <a:rPr lang="ru-RU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 проводится обучение «Культура безопасного труда», которая к концу 2023 года должна охватить 100% производственного персонала на всех предприятиях </a:t>
            </a:r>
            <a:r>
              <a:rPr lang="ru-RU" sz="1200" baseline="0" dirty="0" err="1">
                <a:latin typeface="Arial" panose="020B0604020202020204" pitchFamily="34" charset="0"/>
                <a:cs typeface="Arial" panose="020B0604020202020204" pitchFamily="34" charset="0"/>
              </a:rPr>
              <a:t>общестьва</a:t>
            </a:r>
            <a:r>
              <a:rPr lang="ru-RU" sz="1200" baseline="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just">
              <a:buFont typeface="Arial" panose="020B0604020202020204" pitchFamily="34" charset="0"/>
              <a:buNone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D1929B-695E-4359-A98B-F36A6BDD804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75577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Arial" panose="020B0604020202020204" pitchFamily="34" charset="0"/>
              <a:buNone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D1929B-695E-4359-A98B-F36A6BDD804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5352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ru-RU"/>
          </a:p>
        </p:txBody>
      </p:sp>
      <p:sp>
        <p:nvSpPr>
          <p:cNvPr id="4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3D7FD9A-BB6B-42B6-827E-462D444F65A9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7746355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 algn="just">
              <a:buFont typeface="Arial" panose="020B0604020202020204" pitchFamily="34" charset="0"/>
              <a:buNone/>
            </a:pP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D1929B-695E-4359-A98B-F36A6BDD8044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73027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ru-RU"/>
          </a:p>
        </p:txBody>
      </p:sp>
      <p:sp>
        <p:nvSpPr>
          <p:cNvPr id="4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3D7FD9A-BB6B-42B6-827E-462D444F65A9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194260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altLang="ru-RU"/>
          </a:p>
        </p:txBody>
      </p:sp>
      <p:sp>
        <p:nvSpPr>
          <p:cNvPr id="4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fld id="{83D7FD9A-BB6B-42B6-827E-462D444F65A9}" type="slidenum">
              <a:rPr lang="ru-RU" altLang="ru-RU" smtClean="0">
                <a:solidFill>
                  <a:srgbClr val="000000"/>
                </a:solidFill>
              </a:rPr>
              <a:pPr/>
              <a:t>9</a:t>
            </a:fld>
            <a:endParaRPr lang="ru-RU" alt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7640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8.xml"/><Relationship Id="rId4" Type="http://schemas.openxmlformats.org/officeDocument/2006/relationships/image" Target="../media/image2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9.xml"/><Relationship Id="rId4" Type="http://schemas.openxmlformats.org/officeDocument/2006/relationships/image" Target="../media/image3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2063860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18135"/>
            <a:endParaRPr lang="en-US" sz="1089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3045752"/>
              </p:ext>
            </p:ext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406488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57872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422" y="364443"/>
            <a:ext cx="10517158" cy="1326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87501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6" progId="TCLayout.ActiveDocument.1">
                  <p:embed/>
                </p:oleObj>
              </mc:Choice>
              <mc:Fallback>
                <p:oleObj name="think-cell Slide" r:id="rId3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10995479" y="51834"/>
            <a:ext cx="894153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218135"/>
            <a:endParaRPr lang="en-US" sz="1089" dirty="0">
              <a:solidFill>
                <a:srgbClr val="808080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298155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61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0" imgH="528" progId="TCLayout.ActiveDocument.1">
                  <p:embed/>
                </p:oleObj>
              </mc:Choice>
              <mc:Fallback>
                <p:oleObj name="think-cell Slide" r:id="rId3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61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9023414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2003487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7422" y="364443"/>
            <a:ext cx="10517158" cy="132657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748105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image" Target="../media/image1.emf"/><Relationship Id="rId5" Type="http://schemas.openxmlformats.org/officeDocument/2006/relationships/theme" Target="../theme/theme1.xml"/><Relationship Id="rId15" Type="http://schemas.openxmlformats.org/officeDocument/2006/relationships/tags" Target="../tags/tag11.xml"/><Relationship Id="rId23" Type="http://schemas.openxmlformats.org/officeDocument/2006/relationships/oleObject" Target="../embeddings/oleObject1.bin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tags" Target="../tags/tag28.xml"/><Relationship Id="rId18" Type="http://schemas.openxmlformats.org/officeDocument/2006/relationships/tags" Target="../tags/tag33.xml"/><Relationship Id="rId3" Type="http://schemas.openxmlformats.org/officeDocument/2006/relationships/slideLayout" Target="../slideLayouts/slideLayout7.xml"/><Relationship Id="rId21" Type="http://schemas.openxmlformats.org/officeDocument/2006/relationships/tags" Target="../tags/tag36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17" Type="http://schemas.openxmlformats.org/officeDocument/2006/relationships/tags" Target="../tags/tag32.xml"/><Relationship Id="rId2" Type="http://schemas.openxmlformats.org/officeDocument/2006/relationships/slideLayout" Target="../slideLayouts/slideLayout6.xml"/><Relationship Id="rId16" Type="http://schemas.openxmlformats.org/officeDocument/2006/relationships/tags" Target="../tags/tag31.xml"/><Relationship Id="rId20" Type="http://schemas.openxmlformats.org/officeDocument/2006/relationships/tags" Target="../tags/tag35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24" Type="http://schemas.openxmlformats.org/officeDocument/2006/relationships/image" Target="../media/image1.emf"/><Relationship Id="rId5" Type="http://schemas.openxmlformats.org/officeDocument/2006/relationships/theme" Target="../theme/theme2.xml"/><Relationship Id="rId15" Type="http://schemas.openxmlformats.org/officeDocument/2006/relationships/tags" Target="../tags/tag30.xml"/><Relationship Id="rId23" Type="http://schemas.openxmlformats.org/officeDocument/2006/relationships/oleObject" Target="../embeddings/oleObject4.bin"/><Relationship Id="rId10" Type="http://schemas.openxmlformats.org/officeDocument/2006/relationships/tags" Target="../tags/tag25.xml"/><Relationship Id="rId19" Type="http://schemas.openxmlformats.org/officeDocument/2006/relationships/tags" Target="../tags/tag34.xml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24.xml"/><Relationship Id="rId14" Type="http://schemas.openxmlformats.org/officeDocument/2006/relationships/tags" Target="../tags/tag29.xml"/><Relationship Id="rId22" Type="http://schemas.openxmlformats.org/officeDocument/2006/relationships/tags" Target="../tags/tag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238460283"/>
              </p:ext>
            </p:ext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2961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89" cap="all" baseline="0" dirty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906887"/>
            <a:ext cx="11725484" cy="334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176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7" y="6392754"/>
            <a:ext cx="11725484" cy="373318"/>
            <a:chOff x="119063" y="6265496"/>
            <a:chExt cx="8618537" cy="36588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5496"/>
              <a:ext cx="8618537" cy="1642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89" baseline="0" dirty="0">
                  <a:solidFill>
                    <a:schemeClr val="accent6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67109"/>
              <a:ext cx="7200000" cy="1642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829368" indent="-829368" defTabSz="1218135">
                <a:tabLst>
                  <a:tab pos="857447" algn="l"/>
                </a:tabLst>
              </a:pPr>
              <a:r>
                <a:rPr lang="en-US" sz="1089" baseline="0" dirty="0" err="1">
                  <a:solidFill>
                    <a:schemeClr val="accent6"/>
                  </a:solidFill>
                  <a:latin typeface="+mn-lt"/>
                  <a:ea typeface="+mn-ea"/>
                </a:rPr>
                <a:t>ИСТОЧНИК</a:t>
              </a:r>
              <a:r>
                <a:rPr lang="en-US" sz="1089" baseline="0" dirty="0">
                  <a:solidFill>
                    <a:schemeClr val="accent6"/>
                  </a:solidFill>
                  <a:latin typeface="+mn-lt"/>
                  <a:ea typeface="+mn-ea"/>
                </a:rPr>
                <a:t>: </a:t>
              </a:r>
              <a:r>
                <a:rPr lang="en-US" sz="1089" baseline="0" dirty="0" err="1">
                  <a:solidFill>
                    <a:schemeClr val="accent6"/>
                  </a:solidFill>
                  <a:latin typeface="+mn-lt"/>
                  <a:ea typeface="+mn-ea"/>
                </a:rPr>
                <a:t>источник</a:t>
              </a:r>
              <a:endParaRPr lang="en-US" sz="1089" baseline="0" dirty="0">
                <a:solidFill>
                  <a:schemeClr val="accent6"/>
                </a:solidFill>
                <a:latin typeface="+mn-lt"/>
                <a:ea typeface="+mn-ea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113228"/>
            <a:ext cx="5801189" cy="688392"/>
            <a:chOff x="915" y="605"/>
            <a:chExt cx="2686" cy="4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5"/>
              <a:ext cx="2686" cy="4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2176" b="1" baseline="0" dirty="0" err="1">
                  <a:solidFill>
                    <a:srgbClr val="000000"/>
                  </a:solidFill>
                  <a:latin typeface="+mn-lt"/>
                  <a:ea typeface="+mn-ea"/>
                </a:rPr>
                <a:t>Название</a:t>
              </a:r>
              <a:r>
                <a:rPr lang="en-US" sz="2176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 </a:t>
              </a:r>
              <a:r>
                <a:rPr lang="en-US" sz="2176" b="1" baseline="0" dirty="0" err="1">
                  <a:solidFill>
                    <a:srgbClr val="000000"/>
                  </a:solidFill>
                  <a:latin typeface="+mn-lt"/>
                  <a:ea typeface="+mn-ea"/>
                </a:rPr>
                <a:t>документа</a:t>
              </a:r>
              <a:endParaRPr lang="en-US" sz="2176" b="1" baseline="0" dirty="0">
                <a:solidFill>
                  <a:srgbClr val="000000"/>
                </a:solidFill>
                <a:latin typeface="+mn-lt"/>
                <a:ea typeface="+mn-ea"/>
              </a:endParaRPr>
            </a:p>
            <a:p>
              <a:r>
                <a:rPr lang="en-US" sz="2176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2908" y="291556"/>
            <a:ext cx="484555" cy="195310"/>
            <a:chOff x="8384615" y="285750"/>
            <a:chExt cx="356160" cy="19142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4615" y="285750"/>
              <a:ext cx="356160" cy="191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135">
                <a:buClr>
                  <a:srgbClr val="002960"/>
                </a:buClr>
              </a:pPr>
              <a:r>
                <a:rPr lang="en-US" sz="1089" baseline="0" dirty="0">
                  <a:solidFill>
                    <a:schemeClr val="accent6"/>
                  </a:solidFill>
                  <a:latin typeface="+mn-lt"/>
                  <a:ea typeface="+mn-ea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4615" y="285750"/>
              <a:ext cx="0" cy="19142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4615" y="477171"/>
              <a:ext cx="35616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60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6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2" y="285076"/>
            <a:ext cx="959388" cy="1080469"/>
            <a:chOff x="7835905" y="279400"/>
            <a:chExt cx="705175" cy="105896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baseline="0" dirty="0">
                <a:latin typeface="+mn-lt"/>
                <a:ea typeface="+mn-ea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baseline="0" dirty="0">
                <a:latin typeface="+mn-lt"/>
                <a:ea typeface="+mn-ea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baseline="0" dirty="0">
                <a:latin typeface="+mn-lt"/>
                <a:ea typeface="+mn-ea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baseline="0" dirty="0">
                <a:latin typeface="+mn-lt"/>
                <a:ea typeface="+mn-ea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7" y="285077"/>
            <a:ext cx="1378387" cy="808351"/>
            <a:chOff x="7540629" y="279400"/>
            <a:chExt cx="1013150" cy="792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 baseline="0" dirty="0">
                <a:latin typeface="+mn-lt"/>
                <a:ea typeface="+mn-ea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 baseline="0" dirty="0">
                <a:latin typeface="+mn-lt"/>
                <a:ea typeface="+mn-ea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 baseline="0" dirty="0">
                <a:latin typeface="+mn-lt"/>
                <a:ea typeface="+mn-ea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39" y="255920"/>
            <a:ext cx="1050099" cy="1383362"/>
            <a:chOff x="7769225" y="250825"/>
            <a:chExt cx="771850" cy="1355824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baseline="0" dirty="0">
                  <a:latin typeface="+mn-lt"/>
                  <a:ea typeface="+mn-ea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chemeClr val="tx2"/>
                </a:buClr>
              </a:pPr>
              <a:r>
                <a:rPr lang="en-US" sz="1632" baseline="0" dirty="0">
                  <a:latin typeface="+mn-lt"/>
                  <a:ea typeface="+mn-ea"/>
                </a:rPr>
                <a:t>Legend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7422" y="1825454"/>
            <a:ext cx="10517158" cy="155811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5" r:id="rId2"/>
    <p:sldLayoutId id="2147483700" r:id="rId3"/>
    <p:sldLayoutId id="2147483701" r:id="rId4"/>
  </p:sldLayoutIdLst>
  <p:hf hdr="0" ftr="0" dt="0"/>
  <p:txStyles>
    <p:titleStyle>
      <a:lvl1pPr algn="l" defTabSz="1218135" rtl="0" eaLnBrk="1" fontAlgn="base" hangingPunct="1">
        <a:spcBef>
          <a:spcPct val="0"/>
        </a:spcBef>
        <a:spcAft>
          <a:spcPct val="0"/>
        </a:spcAft>
        <a:tabLst>
          <a:tab pos="367167" algn="l"/>
        </a:tabLst>
        <a:defRPr sz="2721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2pPr>
      <a:lvl3pPr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3pPr>
      <a:lvl4pPr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4pPr>
      <a:lvl5pPr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5pPr>
      <a:lvl6pPr marL="622025"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6pPr>
      <a:lvl7pPr marL="1244052"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7pPr>
      <a:lvl8pPr marL="1866079"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8pPr>
      <a:lvl9pPr marL="2488105"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905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263497" indent="-261338" algn="l" defTabSz="121813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905" baseline="0">
          <a:solidFill>
            <a:schemeClr val="tx1"/>
          </a:solidFill>
          <a:latin typeface="Calibri" panose="020F0502020204030204" pitchFamily="34" charset="0"/>
        </a:defRPr>
      </a:lvl2pPr>
      <a:lvl3pPr marL="622025" indent="-356370" algn="l" defTabSz="121813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905" baseline="0">
          <a:solidFill>
            <a:schemeClr val="tx1"/>
          </a:solidFill>
          <a:latin typeface="Calibri" panose="020F0502020204030204" pitchFamily="34" charset="0"/>
        </a:defRPr>
      </a:lvl3pPr>
      <a:lvl4pPr marL="835849" indent="-211662" algn="l" defTabSz="121813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905" baseline="0">
          <a:solidFill>
            <a:schemeClr val="tx1"/>
          </a:solidFill>
          <a:latin typeface="Calibri" panose="020F0502020204030204" pitchFamily="34" charset="0"/>
        </a:defRPr>
      </a:lvl4pPr>
      <a:lvl5pPr marL="1020123" indent="-177105" algn="l" defTabSz="121813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905" baseline="0">
          <a:solidFill>
            <a:schemeClr val="tx1"/>
          </a:solidFill>
          <a:latin typeface="Calibri" panose="020F0502020204030204" pitchFamily="34" charset="0"/>
        </a:defRPr>
      </a:lvl5pPr>
      <a:lvl6pPr marL="1020123" indent="-177105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123" indent="-177105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123" indent="-177105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123" indent="-177105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25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52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79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105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131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157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183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209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270" imgH="270" progId="TCLayout.ActiveDocument.1">
                  <p:embed/>
                </p:oleObj>
              </mc:Choice>
              <mc:Fallback>
                <p:oleObj name="think-cell Slide" r:id="rId2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1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2176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61986" y="77304"/>
            <a:ext cx="512961" cy="167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089" cap="all" dirty="0">
                <a:solidFill>
                  <a:srgbClr val="FFFFFF"/>
                </a:solidFill>
                <a:latin typeface="Calibri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61987" y="906887"/>
            <a:ext cx="11725484" cy="334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2176" dirty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gray">
          <a:xfrm>
            <a:off x="161987" y="6392754"/>
            <a:ext cx="11725484" cy="373318"/>
            <a:chOff x="119063" y="6265496"/>
            <a:chExt cx="8618537" cy="36588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265496"/>
              <a:ext cx="8618537" cy="1642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89" dirty="0">
                  <a:solidFill>
                    <a:srgbClr val="80808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467109"/>
              <a:ext cx="7200000" cy="1642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829368" indent="-829368" defTabSz="1218135">
                <a:tabLst>
                  <a:tab pos="857447" algn="l"/>
                </a:tabLst>
              </a:pPr>
              <a:r>
                <a:rPr lang="en-US" sz="1089" dirty="0" err="1">
                  <a:solidFill>
                    <a:srgbClr val="808080"/>
                  </a:solidFill>
                  <a:latin typeface="Calibri"/>
                </a:rPr>
                <a:t>ИСТОЧНИК</a:t>
              </a:r>
              <a:r>
                <a:rPr lang="en-US" sz="1089" dirty="0">
                  <a:solidFill>
                    <a:srgbClr val="808080"/>
                  </a:solidFill>
                  <a:latin typeface="Calibri"/>
                </a:rPr>
                <a:t>: </a:t>
              </a:r>
              <a:r>
                <a:rPr lang="en-US" sz="1089" dirty="0" err="1">
                  <a:solidFill>
                    <a:srgbClr val="808080"/>
                  </a:solidFill>
                  <a:latin typeface="Calibri"/>
                </a:rPr>
                <a:t>источник</a:t>
              </a:r>
              <a:endParaRPr lang="en-US" sz="1089" dirty="0">
                <a:solidFill>
                  <a:srgbClr val="808080"/>
                </a:solidFill>
                <a:latin typeface="Calibri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7" y="1113228"/>
            <a:ext cx="5801189" cy="688392"/>
            <a:chOff x="915" y="605"/>
            <a:chExt cx="2686" cy="42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605"/>
              <a:ext cx="2686" cy="42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2176" b="1" dirty="0" err="1">
                  <a:solidFill>
                    <a:srgbClr val="000000"/>
                  </a:solidFill>
                  <a:latin typeface="Calibri"/>
                </a:rPr>
                <a:t>Название</a:t>
              </a:r>
              <a:r>
                <a:rPr lang="en-US" sz="2176" b="1" dirty="0">
                  <a:solidFill>
                    <a:srgbClr val="000000"/>
                  </a:solidFill>
                  <a:latin typeface="Calibri"/>
                </a:rPr>
                <a:t> </a:t>
              </a:r>
              <a:r>
                <a:rPr lang="en-US" sz="2176" b="1" dirty="0" err="1">
                  <a:solidFill>
                    <a:srgbClr val="000000"/>
                  </a:solidFill>
                  <a:latin typeface="Calibri"/>
                </a:rPr>
                <a:t>документа</a:t>
              </a:r>
              <a:endParaRPr lang="en-US" sz="2176" b="1" dirty="0">
                <a:solidFill>
                  <a:srgbClr val="000000"/>
                </a:solidFill>
                <a:latin typeface="Calibri"/>
              </a:endParaRPr>
            </a:p>
            <a:p>
              <a:r>
                <a:rPr lang="en-US" sz="2176" dirty="0">
                  <a:solidFill>
                    <a:srgbClr val="808080"/>
                  </a:solidFill>
                  <a:latin typeface="Calibri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11402908" y="291556"/>
            <a:ext cx="484555" cy="195310"/>
            <a:chOff x="8384615" y="285750"/>
            <a:chExt cx="356160" cy="19142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384615" y="285750"/>
              <a:ext cx="356160" cy="19142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218135">
                <a:buClr>
                  <a:srgbClr val="002960"/>
                </a:buClr>
              </a:pPr>
              <a:r>
                <a:rPr lang="en-US" sz="1089" dirty="0">
                  <a:solidFill>
                    <a:srgbClr val="808080"/>
                  </a:solidFill>
                  <a:latin typeface="Calibri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384615" y="285750"/>
              <a:ext cx="0" cy="19142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384615" y="477171"/>
              <a:ext cx="35616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 userDrawn="1"/>
        </p:nvSpPr>
        <p:spPr>
          <a:xfrm>
            <a:off x="11576460" y="6455860"/>
            <a:ext cx="62201" cy="12634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176" dirty="0">
              <a:solidFill>
                <a:srgbClr val="000000"/>
              </a:solidFill>
            </a:endParaRPr>
          </a:p>
        </p:txBody>
      </p:sp>
      <p:grpSp>
        <p:nvGrpSpPr>
          <p:cNvPr id="26" name="LegendBoxes" hidden="1"/>
          <p:cNvGrpSpPr/>
          <p:nvPr userDrawn="1"/>
        </p:nvGrpSpPr>
        <p:grpSpPr bwMode="gray">
          <a:xfrm>
            <a:off x="10768452" y="285076"/>
            <a:ext cx="959388" cy="1080469"/>
            <a:chOff x="7835905" y="279400"/>
            <a:chExt cx="705175" cy="1058960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2176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1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 userDrawn="1"/>
        </p:nvGrpSpPr>
        <p:grpSpPr bwMode="gray">
          <a:xfrm>
            <a:off x="10349687" y="285077"/>
            <a:ext cx="1378387" cy="808351"/>
            <a:chOff x="7540629" y="279400"/>
            <a:chExt cx="1013150" cy="792260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2176" dirty="0">
                <a:solidFill>
                  <a:srgbClr val="000000"/>
                </a:solidFill>
                <a:latin typeface="Calibri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 userDrawn="1"/>
        </p:nvGrpSpPr>
        <p:grpSpPr bwMode="gray">
          <a:xfrm>
            <a:off x="10677739" y="255920"/>
            <a:ext cx="1050099" cy="1383362"/>
            <a:chOff x="7769225" y="250825"/>
            <a:chExt cx="771850" cy="1355824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2176" dirty="0">
                  <a:solidFill>
                    <a:srgbClr val="000000"/>
                  </a:solidFill>
                  <a:latin typeface="Calibri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5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451175" cy="24615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218135">
                <a:buClr>
                  <a:srgbClr val="002960"/>
                </a:buClr>
              </a:pPr>
              <a:r>
                <a:rPr lang="en-US" sz="1632" dirty="0">
                  <a:solidFill>
                    <a:srgbClr val="000000"/>
                  </a:solidFill>
                  <a:latin typeface="Calibri"/>
                </a:rPr>
                <a:t>Legend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7422" y="1825454"/>
            <a:ext cx="10517158" cy="1558119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43140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</p:sldLayoutIdLst>
  <p:hf hdr="0" ftr="0" dt="0"/>
  <p:txStyles>
    <p:titleStyle>
      <a:lvl1pPr algn="l" defTabSz="1218135" rtl="0" eaLnBrk="1" fontAlgn="base" hangingPunct="1">
        <a:spcBef>
          <a:spcPct val="0"/>
        </a:spcBef>
        <a:spcAft>
          <a:spcPct val="0"/>
        </a:spcAft>
        <a:tabLst>
          <a:tab pos="367167" algn="l"/>
        </a:tabLst>
        <a:defRPr sz="2721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2pPr>
      <a:lvl3pPr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3pPr>
      <a:lvl4pPr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4pPr>
      <a:lvl5pPr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5pPr>
      <a:lvl6pPr marL="622025"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6pPr>
      <a:lvl7pPr marL="1244052"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7pPr>
      <a:lvl8pPr marL="1866079"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8pPr>
      <a:lvl9pPr marL="2488105" algn="l" defTabSz="1218135" rtl="0" eaLnBrk="1" fontAlgn="base" hangingPunct="1">
        <a:spcBef>
          <a:spcPct val="0"/>
        </a:spcBef>
        <a:spcAft>
          <a:spcPct val="0"/>
        </a:spcAft>
        <a:defRPr sz="2585" b="1">
          <a:solidFill>
            <a:schemeClr val="tx2"/>
          </a:solidFill>
          <a:latin typeface="Arial" charset="0"/>
        </a:defRPr>
      </a:lvl9pPr>
    </p:titleStyle>
    <p:bodyStyle>
      <a:lvl1pPr marL="0" indent="0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905" baseline="0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263497" indent="-261338" algn="l" defTabSz="1218135" rtl="0" eaLnBrk="1" fontAlgn="base" hangingPunct="1">
        <a:spcBef>
          <a:spcPct val="0"/>
        </a:spcBef>
        <a:spcAft>
          <a:spcPct val="0"/>
        </a:spcAft>
        <a:buClrTx/>
        <a:buSzPct val="125000"/>
        <a:buFont typeface="Arial" charset="0"/>
        <a:buChar char="▪"/>
        <a:defRPr sz="1905" baseline="0">
          <a:solidFill>
            <a:schemeClr val="tx1"/>
          </a:solidFill>
          <a:latin typeface="Calibri" panose="020F0502020204030204" pitchFamily="34" charset="0"/>
        </a:defRPr>
      </a:lvl2pPr>
      <a:lvl3pPr marL="622025" indent="-356370" algn="l" defTabSz="121813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–"/>
        <a:defRPr sz="1905" baseline="0">
          <a:solidFill>
            <a:schemeClr val="tx1"/>
          </a:solidFill>
          <a:latin typeface="Calibri" panose="020F0502020204030204" pitchFamily="34" charset="0"/>
        </a:defRPr>
      </a:lvl3pPr>
      <a:lvl4pPr marL="835849" indent="-211662" algn="l" defTabSz="1218135" rtl="0" eaLnBrk="1" fontAlgn="base" hangingPunct="1">
        <a:spcBef>
          <a:spcPct val="0"/>
        </a:spcBef>
        <a:spcAft>
          <a:spcPct val="0"/>
        </a:spcAft>
        <a:buClrTx/>
        <a:buSzPct val="120000"/>
        <a:buFont typeface="Arial" charset="0"/>
        <a:buChar char="▫"/>
        <a:defRPr sz="1905" baseline="0">
          <a:solidFill>
            <a:schemeClr val="tx1"/>
          </a:solidFill>
          <a:latin typeface="Calibri" panose="020F0502020204030204" pitchFamily="34" charset="0"/>
        </a:defRPr>
      </a:lvl4pPr>
      <a:lvl5pPr marL="1020123" indent="-177105" algn="l" defTabSz="1218135" rtl="0" eaLnBrk="1" fontAlgn="base" hangingPunct="1">
        <a:spcBef>
          <a:spcPct val="0"/>
        </a:spcBef>
        <a:spcAft>
          <a:spcPct val="0"/>
        </a:spcAft>
        <a:buClrTx/>
        <a:buSzPct val="89000"/>
        <a:buFont typeface="Arial" charset="0"/>
        <a:buChar char="-"/>
        <a:defRPr sz="1905" baseline="0">
          <a:solidFill>
            <a:schemeClr val="tx1"/>
          </a:solidFill>
          <a:latin typeface="Calibri" panose="020F0502020204030204" pitchFamily="34" charset="0"/>
        </a:defRPr>
      </a:lvl5pPr>
      <a:lvl6pPr marL="1020123" indent="-177105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6pPr>
      <a:lvl7pPr marL="1020123" indent="-177105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7pPr>
      <a:lvl8pPr marL="1020123" indent="-177105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8pPr>
      <a:lvl9pPr marL="1020123" indent="-177105" algn="l" defTabSz="12181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2176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1pPr>
      <a:lvl2pPr marL="622025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2pPr>
      <a:lvl3pPr marL="1244052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3pPr>
      <a:lvl4pPr marL="1866079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4pPr>
      <a:lvl5pPr marL="2488105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5pPr>
      <a:lvl6pPr marL="3110131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6pPr>
      <a:lvl7pPr marL="3732157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7pPr>
      <a:lvl8pPr marL="4354183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8pPr>
      <a:lvl9pPr marL="4976209" algn="l" defTabSz="1244052" rtl="0" eaLnBrk="1" latinLnBrk="0" hangingPunct="1">
        <a:defRPr sz="24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5.xml"/><Relationship Id="rId3" Type="http://schemas.openxmlformats.org/officeDocument/2006/relationships/image" Target="../media/image8.png"/><Relationship Id="rId7" Type="http://schemas.openxmlformats.org/officeDocument/2006/relationships/diagramQuickStyle" Target="../diagrams/quickStyle5.xml"/><Relationship Id="rId12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diagramLayout" Target="../diagrams/layout5.xml"/><Relationship Id="rId11" Type="http://schemas.openxmlformats.org/officeDocument/2006/relationships/chart" Target="../charts/chart1.xml"/><Relationship Id="rId5" Type="http://schemas.openxmlformats.org/officeDocument/2006/relationships/diagramData" Target="../diagrams/data5.xml"/><Relationship Id="rId10" Type="http://schemas.openxmlformats.org/officeDocument/2006/relationships/image" Target="../media/image54.png"/><Relationship Id="rId4" Type="http://schemas.openxmlformats.org/officeDocument/2006/relationships/image" Target="../media/image9.png"/><Relationship Id="rId9" Type="http://schemas.microsoft.com/office/2007/relationships/diagramDrawing" Target="../diagrams/drawing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13" Type="http://schemas.openxmlformats.org/officeDocument/2006/relationships/diagramQuickStyle" Target="../diagrams/quickStyle2.xml"/><Relationship Id="rId3" Type="http://schemas.openxmlformats.org/officeDocument/2006/relationships/image" Target="../media/image7.png"/><Relationship Id="rId7" Type="http://schemas.openxmlformats.org/officeDocument/2006/relationships/diagramLayout" Target="../diagrams/layout1.xml"/><Relationship Id="rId12" Type="http://schemas.openxmlformats.org/officeDocument/2006/relationships/diagramLayout" Target="../diagrams/layou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diagramData" Target="../diagrams/data1.xml"/><Relationship Id="rId11" Type="http://schemas.openxmlformats.org/officeDocument/2006/relationships/diagramData" Target="../diagrams/data2.xml"/><Relationship Id="rId5" Type="http://schemas.openxmlformats.org/officeDocument/2006/relationships/image" Target="../media/image9.png"/><Relationship Id="rId15" Type="http://schemas.microsoft.com/office/2007/relationships/diagramDrawing" Target="../diagrams/drawing2.xml"/><Relationship Id="rId10" Type="http://schemas.microsoft.com/office/2007/relationships/diagramDrawing" Target="../diagrams/drawing1.xml"/><Relationship Id="rId4" Type="http://schemas.openxmlformats.org/officeDocument/2006/relationships/image" Target="../media/image8.png"/><Relationship Id="rId9" Type="http://schemas.openxmlformats.org/officeDocument/2006/relationships/diagramColors" Target="../diagrams/colors1.xml"/><Relationship Id="rId14" Type="http://schemas.openxmlformats.org/officeDocument/2006/relationships/diagramColors" Target="../diagrams/colors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emf"/><Relationship Id="rId3" Type="http://schemas.openxmlformats.org/officeDocument/2006/relationships/image" Target="../media/image8.png"/><Relationship Id="rId7" Type="http://schemas.openxmlformats.org/officeDocument/2006/relationships/image" Target="../media/image11.png"/><Relationship Id="rId12" Type="http://schemas.openxmlformats.org/officeDocument/2006/relationships/image" Target="../media/image16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jpeg"/><Relationship Id="rId11" Type="http://schemas.openxmlformats.org/officeDocument/2006/relationships/image" Target="../media/image15.jpg"/><Relationship Id="rId5" Type="http://schemas.openxmlformats.org/officeDocument/2006/relationships/hyperlink" Target="http://www.kazatomprom.kz/sites/default/files/vision_zero.jpg" TargetMode="External"/><Relationship Id="rId10" Type="http://schemas.openxmlformats.org/officeDocument/2006/relationships/image" Target="../media/image14.png"/><Relationship Id="rId4" Type="http://schemas.openxmlformats.org/officeDocument/2006/relationships/image" Target="../media/image9.png"/><Relationship Id="rId9" Type="http://schemas.openxmlformats.org/officeDocument/2006/relationships/image" Target="../media/image13.jpg"/><Relationship Id="rId1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3.xml"/><Relationship Id="rId13" Type="http://schemas.openxmlformats.org/officeDocument/2006/relationships/image" Target="../media/image22.png"/><Relationship Id="rId18" Type="http://schemas.openxmlformats.org/officeDocument/2006/relationships/image" Target="../media/image27.png"/><Relationship Id="rId3" Type="http://schemas.openxmlformats.org/officeDocument/2006/relationships/image" Target="../media/image8.png"/><Relationship Id="rId7" Type="http://schemas.openxmlformats.org/officeDocument/2006/relationships/diagramLayout" Target="../diagrams/layout3.xml"/><Relationship Id="rId12" Type="http://schemas.openxmlformats.org/officeDocument/2006/relationships/image" Target="../media/image21.png"/><Relationship Id="rId17" Type="http://schemas.openxmlformats.org/officeDocument/2006/relationships/image" Target="../media/image26.png"/><Relationship Id="rId2" Type="http://schemas.openxmlformats.org/officeDocument/2006/relationships/notesSlide" Target="../notesSlides/notesSlide4.xml"/><Relationship Id="rId16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6" Type="http://schemas.openxmlformats.org/officeDocument/2006/relationships/diagramData" Target="../diagrams/data3.xml"/><Relationship Id="rId11" Type="http://schemas.openxmlformats.org/officeDocument/2006/relationships/image" Target="../media/image20.png"/><Relationship Id="rId5" Type="http://schemas.openxmlformats.org/officeDocument/2006/relationships/image" Target="../media/image19.png"/><Relationship Id="rId15" Type="http://schemas.openxmlformats.org/officeDocument/2006/relationships/image" Target="../media/image24.png"/><Relationship Id="rId10" Type="http://schemas.microsoft.com/office/2007/relationships/diagramDrawing" Target="../diagrams/drawing3.xml"/><Relationship Id="rId19" Type="http://schemas.openxmlformats.org/officeDocument/2006/relationships/image" Target="../media/image28.jpg"/><Relationship Id="rId4" Type="http://schemas.openxmlformats.org/officeDocument/2006/relationships/image" Target="../media/image9.png"/><Relationship Id="rId9" Type="http://schemas.openxmlformats.org/officeDocument/2006/relationships/diagramColors" Target="../diagrams/colors3.xml"/><Relationship Id="rId14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4.xml"/><Relationship Id="rId3" Type="http://schemas.openxmlformats.org/officeDocument/2006/relationships/image" Target="../media/image8.png"/><Relationship Id="rId7" Type="http://schemas.openxmlformats.org/officeDocument/2006/relationships/diagramQuickStyle" Target="../diagrams/quickStyle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diagramLayout" Target="../diagrams/layout4.xml"/><Relationship Id="rId5" Type="http://schemas.openxmlformats.org/officeDocument/2006/relationships/diagramData" Target="../diagrams/data4.xml"/><Relationship Id="rId4" Type="http://schemas.openxmlformats.org/officeDocument/2006/relationships/image" Target="../media/image9.png"/><Relationship Id="rId9" Type="http://schemas.microsoft.com/office/2007/relationships/diagramDrawing" Target="../diagrams/drawing4.xml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7.jpg"/><Relationship Id="rId3" Type="http://schemas.openxmlformats.org/officeDocument/2006/relationships/image" Target="../media/image29.png"/><Relationship Id="rId7" Type="http://schemas.openxmlformats.org/officeDocument/2006/relationships/image" Target="../media/image32.png"/><Relationship Id="rId12" Type="http://schemas.openxmlformats.org/officeDocument/2006/relationships/image" Target="../media/image36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35.jfif"/><Relationship Id="rId5" Type="http://schemas.microsoft.com/office/2007/relationships/hdphoto" Target="../media/hdphoto1.wdp"/><Relationship Id="rId10" Type="http://schemas.openxmlformats.org/officeDocument/2006/relationships/image" Target="../media/image34.jpg"/><Relationship Id="rId4" Type="http://schemas.openxmlformats.org/officeDocument/2006/relationships/image" Target="../media/image30.png"/><Relationship Id="rId9" Type="http://schemas.openxmlformats.org/officeDocument/2006/relationships/image" Target="../media/image3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1.jpe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png"/><Relationship Id="rId11" Type="http://schemas.openxmlformats.org/officeDocument/2006/relationships/image" Target="../media/image48.jpeg"/><Relationship Id="rId5" Type="http://schemas.openxmlformats.org/officeDocument/2006/relationships/image" Target="../media/image43.jpeg"/><Relationship Id="rId10" Type="http://schemas.openxmlformats.org/officeDocument/2006/relationships/image" Target="../media/image47.jpg"/><Relationship Id="rId4" Type="http://schemas.openxmlformats.org/officeDocument/2006/relationships/image" Target="../media/image42.jpeg"/><Relationship Id="rId9" Type="http://schemas.openxmlformats.org/officeDocument/2006/relationships/image" Target="../media/image4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31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1.png"/><Relationship Id="rId5" Type="http://schemas.openxmlformats.org/officeDocument/2006/relationships/image" Target="../media/image50.png"/><Relationship Id="rId4" Type="http://schemas.openxmlformats.org/officeDocument/2006/relationships/image" Target="../media/image4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9" name="Freeform 719">
            <a:extLst>
              <a:ext uri="{FF2B5EF4-FFF2-40B4-BE49-F238E27FC236}">
                <a16:creationId xmlns:a16="http://schemas.microsoft.com/office/drawing/2014/main" id="{D6BAA8BC-D0EE-48E6-A7B4-EB2BDC4DDBB9}"/>
              </a:ext>
            </a:extLst>
          </p:cNvPr>
          <p:cNvSpPr>
            <a:spLocks/>
          </p:cNvSpPr>
          <p:nvPr/>
        </p:nvSpPr>
        <p:spPr bwMode="auto">
          <a:xfrm rot="10800000" flipH="1">
            <a:off x="1018" y="-3177"/>
            <a:ext cx="12190981" cy="6861176"/>
          </a:xfrm>
          <a:custGeom>
            <a:avLst/>
            <a:gdLst>
              <a:gd name="T0" fmla="*/ 0 w 2186"/>
              <a:gd name="T1" fmla="*/ 0 h 893"/>
              <a:gd name="T2" fmla="*/ 0 w 2186"/>
              <a:gd name="T3" fmla="*/ 876 h 893"/>
              <a:gd name="T4" fmla="*/ 366 w 2186"/>
              <a:gd name="T5" fmla="*/ 861 h 893"/>
              <a:gd name="T6" fmla="*/ 930 w 2186"/>
              <a:gd name="T7" fmla="*/ 612 h 893"/>
              <a:gd name="T8" fmla="*/ 1669 w 2186"/>
              <a:gd name="T9" fmla="*/ 176 h 893"/>
              <a:gd name="T10" fmla="*/ 2076 w 2186"/>
              <a:gd name="T11" fmla="*/ 67 h 893"/>
              <a:gd name="T12" fmla="*/ 2186 w 2186"/>
              <a:gd name="T13" fmla="*/ 0 h 893"/>
              <a:gd name="T14" fmla="*/ 0 w 2186"/>
              <a:gd name="T15" fmla="*/ 0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186" h="893">
                <a:moveTo>
                  <a:pt x="0" y="0"/>
                </a:moveTo>
                <a:cubicBezTo>
                  <a:pt x="0" y="876"/>
                  <a:pt x="0" y="876"/>
                  <a:pt x="0" y="876"/>
                </a:cubicBezTo>
                <a:cubicBezTo>
                  <a:pt x="121" y="893"/>
                  <a:pt x="247" y="886"/>
                  <a:pt x="366" y="861"/>
                </a:cubicBezTo>
                <a:cubicBezTo>
                  <a:pt x="568" y="818"/>
                  <a:pt x="756" y="724"/>
                  <a:pt x="930" y="612"/>
                </a:cubicBezTo>
                <a:cubicBezTo>
                  <a:pt x="1171" y="455"/>
                  <a:pt x="1394" y="258"/>
                  <a:pt x="1669" y="176"/>
                </a:cubicBezTo>
                <a:cubicBezTo>
                  <a:pt x="1804" y="135"/>
                  <a:pt x="1947" y="124"/>
                  <a:pt x="2076" y="67"/>
                </a:cubicBezTo>
                <a:cubicBezTo>
                  <a:pt x="2115" y="50"/>
                  <a:pt x="2152" y="27"/>
                  <a:pt x="2186" y="0"/>
                </a:cubicBezTo>
                <a:lnTo>
                  <a:pt x="0" y="0"/>
                </a:lnTo>
                <a:close/>
              </a:path>
            </a:pathLst>
          </a:custGeom>
          <a:blipFill dpi="0" rotWithShape="1">
            <a:blip r:embed="rId4">
              <a:alphaModFix amt="78000"/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Lato" panose="020F0502020204030203" pitchFamily="34" charset="0"/>
            </a:endParaRPr>
          </a:p>
        </p:txBody>
      </p:sp>
      <p:sp>
        <p:nvSpPr>
          <p:cNvPr id="20" name="Freeform 721">
            <a:extLst>
              <a:ext uri="{FF2B5EF4-FFF2-40B4-BE49-F238E27FC236}">
                <a16:creationId xmlns:a16="http://schemas.microsoft.com/office/drawing/2014/main" id="{D0E62318-59F9-49C9-9571-391CAAF45DD9}"/>
              </a:ext>
            </a:extLst>
          </p:cNvPr>
          <p:cNvSpPr>
            <a:spLocks/>
          </p:cNvSpPr>
          <p:nvPr/>
        </p:nvSpPr>
        <p:spPr bwMode="auto">
          <a:xfrm rot="16200000" flipH="1">
            <a:off x="5359403" y="25395"/>
            <a:ext cx="6858000" cy="6807204"/>
          </a:xfrm>
          <a:custGeom>
            <a:avLst/>
            <a:gdLst>
              <a:gd name="T0" fmla="*/ 2280 w 2452"/>
              <a:gd name="T1" fmla="*/ 27 h 1085"/>
              <a:gd name="T2" fmla="*/ 1531 w 2452"/>
              <a:gd name="T3" fmla="*/ 358 h 1085"/>
              <a:gd name="T4" fmla="*/ 546 w 2452"/>
              <a:gd name="T5" fmla="*/ 939 h 1085"/>
              <a:gd name="T6" fmla="*/ 4 w 2452"/>
              <a:gd name="T7" fmla="*/ 1083 h 1085"/>
              <a:gd name="T8" fmla="*/ 0 w 2452"/>
              <a:gd name="T9" fmla="*/ 1085 h 1085"/>
              <a:gd name="T10" fmla="*/ 2452 w 2452"/>
              <a:gd name="T11" fmla="*/ 1085 h 1085"/>
              <a:gd name="T12" fmla="*/ 2452 w 2452"/>
              <a:gd name="T13" fmla="*/ 0 h 1085"/>
              <a:gd name="T14" fmla="*/ 2280 w 2452"/>
              <a:gd name="T15" fmla="*/ 27 h 10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2452" h="1085">
                <a:moveTo>
                  <a:pt x="2280" y="27"/>
                </a:moveTo>
                <a:cubicBezTo>
                  <a:pt x="2011" y="84"/>
                  <a:pt x="1761" y="209"/>
                  <a:pt x="1531" y="358"/>
                </a:cubicBezTo>
                <a:cubicBezTo>
                  <a:pt x="1210" y="567"/>
                  <a:pt x="913" y="829"/>
                  <a:pt x="546" y="939"/>
                </a:cubicBezTo>
                <a:cubicBezTo>
                  <a:pt x="367" y="993"/>
                  <a:pt x="176" y="1008"/>
                  <a:pt x="4" y="1083"/>
                </a:cubicBezTo>
                <a:cubicBezTo>
                  <a:pt x="3" y="1084"/>
                  <a:pt x="2" y="1084"/>
                  <a:pt x="0" y="1085"/>
                </a:cubicBezTo>
                <a:cubicBezTo>
                  <a:pt x="2452" y="1085"/>
                  <a:pt x="2452" y="1085"/>
                  <a:pt x="2452" y="1085"/>
                </a:cubicBezTo>
                <a:cubicBezTo>
                  <a:pt x="2452" y="0"/>
                  <a:pt x="2452" y="0"/>
                  <a:pt x="2452" y="0"/>
                </a:cubicBezTo>
                <a:cubicBezTo>
                  <a:pt x="2394" y="6"/>
                  <a:pt x="2337" y="15"/>
                  <a:pt x="2280" y="27"/>
                </a:cubicBezTo>
                <a:close/>
              </a:path>
            </a:pathLst>
          </a:custGeom>
          <a:blipFill dpi="0" rotWithShape="1">
            <a:blip r:embed="rId4">
              <a:alphaModFix amt="78000"/>
            </a:blip>
            <a:srcRect/>
            <a:stretch>
              <a:fillRect/>
            </a:stretch>
          </a:blip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Lato" panose="020F0502020204030203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028A179-7457-4A78-A212-7AA4DD40F29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443" y="889410"/>
            <a:ext cx="3149221" cy="1886846"/>
          </a:xfrm>
          <a:prstGeom prst="rect">
            <a:avLst/>
          </a:prstGeom>
        </p:spPr>
      </p:pic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0886D768-7B90-458A-84EE-D9E04679FF98}"/>
              </a:ext>
            </a:extLst>
          </p:cNvPr>
          <p:cNvCxnSpPr>
            <a:cxnSpLocks/>
          </p:cNvCxnSpPr>
          <p:nvPr/>
        </p:nvCxnSpPr>
        <p:spPr>
          <a:xfrm flipV="1">
            <a:off x="94351" y="3416337"/>
            <a:ext cx="4588204" cy="1107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CaixaDeTexto 2">
            <a:extLst>
              <a:ext uri="{FF2B5EF4-FFF2-40B4-BE49-F238E27FC236}">
                <a16:creationId xmlns:a16="http://schemas.microsoft.com/office/drawing/2014/main" id="{783073AA-9CE7-4C54-90CA-B71CDF8A155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351" y="4005701"/>
            <a:ext cx="7858802" cy="9465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ru-RU"/>
            </a:defPPr>
            <a:lvl1pPr marL="0" defTabSz="914400" eaLnBrk="1" latinLnBrk="0" hangingPunct="1">
              <a:lnSpc>
                <a:spcPct val="85000"/>
              </a:lnSpc>
              <a:defRPr sz="3200" b="1" spc="225">
                <a:solidFill>
                  <a:srgbClr val="F7A7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defTabSz="914400" eaLnBrk="1" latinLnBrk="0" hangingPunct="1">
              <a:defRPr sz="1800">
                <a:latin typeface="+mn-lt"/>
              </a:defRPr>
            </a:lvl2pPr>
            <a:lvl3pPr defTabSz="914400" eaLnBrk="1" latinLnBrk="0" hangingPunct="1">
              <a:defRPr sz="1800">
                <a:latin typeface="+mn-lt"/>
              </a:defRPr>
            </a:lvl3pPr>
            <a:lvl4pPr defTabSz="914400" eaLnBrk="1" latinLnBrk="0" hangingPunct="1">
              <a:defRPr sz="1800">
                <a:latin typeface="+mn-lt"/>
              </a:defRPr>
            </a:lvl4pPr>
            <a:lvl5pPr defTabSz="914400" eaLnBrk="1" latinLnBrk="0" hangingPunct="1">
              <a:defRPr sz="1800">
                <a:latin typeface="+mn-lt"/>
              </a:defRPr>
            </a:lvl5pPr>
            <a:lvl6pPr>
              <a:defRPr sz="1800">
                <a:latin typeface="+mn-lt"/>
              </a:defRPr>
            </a:lvl6pPr>
            <a:lvl7pPr>
              <a:defRPr sz="1800">
                <a:latin typeface="+mn-lt"/>
              </a:defRPr>
            </a:lvl7pPr>
            <a:lvl8pPr>
              <a:defRPr sz="1800">
                <a:latin typeface="+mn-lt"/>
              </a:defRPr>
            </a:lvl8pPr>
            <a:lvl9pPr>
              <a:defRPr sz="1800">
                <a:latin typeface="+mn-lt"/>
              </a:defRPr>
            </a:lvl9pPr>
          </a:lstStyle>
          <a:p>
            <a:r>
              <a:rPr lang="ru-RU" sz="3265" cap="all" dirty="0">
                <a:latin typeface="Century Gothic" panose="020B0502020202020204" pitchFamily="34" charset="0"/>
              </a:rPr>
              <a:t>Культура безопасности труда</a:t>
            </a:r>
          </a:p>
          <a:p>
            <a:r>
              <a:rPr lang="ru-RU" sz="3265" cap="all" dirty="0">
                <a:latin typeface="Century Gothic" panose="020B0502020202020204" pitchFamily="34" charset="0"/>
              </a:rPr>
              <a:t>В АО «НАК «</a:t>
            </a:r>
            <a:r>
              <a:rPr lang="ru-RU" sz="3265" cap="all" dirty="0" err="1">
                <a:latin typeface="Century Gothic" panose="020B0502020202020204" pitchFamily="34" charset="0"/>
              </a:rPr>
              <a:t>Казатомпром</a:t>
            </a:r>
            <a:r>
              <a:rPr lang="ru-RU" sz="3265" cap="all" dirty="0">
                <a:latin typeface="Century Gothic" panose="020B0502020202020204" pitchFamily="34" charset="0"/>
              </a:rPr>
              <a:t>»</a:t>
            </a:r>
          </a:p>
        </p:txBody>
      </p:sp>
      <p:cxnSp>
        <p:nvCxnSpPr>
          <p:cNvPr id="17" name="Straight Connector 21">
            <a:extLst>
              <a:ext uri="{FF2B5EF4-FFF2-40B4-BE49-F238E27FC236}">
                <a16:creationId xmlns:a16="http://schemas.microsoft.com/office/drawing/2014/main" id="{3B246DA5-3EEA-4B83-9729-38CAD34DBA67}"/>
              </a:ext>
            </a:extLst>
          </p:cNvPr>
          <p:cNvCxnSpPr>
            <a:cxnSpLocks/>
          </p:cNvCxnSpPr>
          <p:nvPr/>
        </p:nvCxnSpPr>
        <p:spPr>
          <a:xfrm>
            <a:off x="152951" y="5604771"/>
            <a:ext cx="447100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3"/>
          <p:cNvSpPr txBox="1"/>
          <p:nvPr/>
        </p:nvSpPr>
        <p:spPr>
          <a:xfrm>
            <a:off x="94351" y="5246254"/>
            <a:ext cx="8113984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0"/>
              </a:spcAft>
              <a:buClr>
                <a:srgbClr val="EF1C26"/>
              </a:buClr>
              <a:defRPr/>
            </a:pPr>
            <a:r>
              <a:rPr lang="ru-RU" sz="1800" b="1" dirty="0">
                <a:solidFill>
                  <a:schemeClr val="bg1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Управляющий директор по производственной безопасности</a:t>
            </a:r>
          </a:p>
          <a:p>
            <a:pPr>
              <a:spcAft>
                <a:spcPts val="0"/>
              </a:spcAft>
              <a:buClr>
                <a:srgbClr val="EF1C26"/>
              </a:buClr>
              <a:defRPr/>
            </a:pPr>
            <a:r>
              <a:rPr lang="ru-RU" sz="3200" b="1" cap="all" dirty="0">
                <a:solidFill>
                  <a:schemeClr val="bg1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скаков </a:t>
            </a:r>
            <a:r>
              <a:rPr lang="ru-RU" sz="3200" b="1" cap="all" dirty="0" err="1">
                <a:solidFill>
                  <a:schemeClr val="bg1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нас</a:t>
            </a:r>
            <a:endParaRPr lang="ru-RU" sz="3200" b="1" cap="all" dirty="0">
              <a:solidFill>
                <a:schemeClr val="bg1"/>
              </a:solidFill>
              <a:latin typeface="Century Gothic" panose="020B05020202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spcAft>
                <a:spcPts val="0"/>
              </a:spcAft>
              <a:buClr>
                <a:srgbClr val="EF1C26"/>
              </a:buClr>
              <a:defRPr/>
            </a:pPr>
            <a:endParaRPr lang="ru-RU" sz="4000" b="1" cap="all" dirty="0">
              <a:solidFill>
                <a:schemeClr val="bg1"/>
              </a:solidFill>
              <a:latin typeface="Century Gothic" panose="020B0502020202020204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Freeform 725">
            <a:extLst>
              <a:ext uri="{FF2B5EF4-FFF2-40B4-BE49-F238E27FC236}">
                <a16:creationId xmlns:a16="http://schemas.microsoft.com/office/drawing/2014/main" id="{1B432E13-E08F-46F0-AA34-99C2045952AF}"/>
              </a:ext>
            </a:extLst>
          </p:cNvPr>
          <p:cNvSpPr>
            <a:spLocks/>
          </p:cNvSpPr>
          <p:nvPr/>
        </p:nvSpPr>
        <p:spPr bwMode="auto">
          <a:xfrm rot="16200000" flipH="1">
            <a:off x="6769579" y="1435578"/>
            <a:ext cx="6861180" cy="3983667"/>
          </a:xfrm>
          <a:custGeom>
            <a:avLst/>
            <a:gdLst>
              <a:gd name="T0" fmla="*/ 1893 w 2246"/>
              <a:gd name="T1" fmla="*/ 34 h 915"/>
              <a:gd name="T2" fmla="*/ 1257 w 2246"/>
              <a:gd name="T3" fmla="*/ 315 h 915"/>
              <a:gd name="T4" fmla="*/ 421 w 2246"/>
              <a:gd name="T5" fmla="*/ 808 h 915"/>
              <a:gd name="T6" fmla="*/ 0 w 2246"/>
              <a:gd name="T7" fmla="*/ 915 h 915"/>
              <a:gd name="T8" fmla="*/ 2246 w 2246"/>
              <a:gd name="T9" fmla="*/ 915 h 915"/>
              <a:gd name="T10" fmla="*/ 2246 w 2246"/>
              <a:gd name="T11" fmla="*/ 10 h 915"/>
              <a:gd name="T12" fmla="*/ 1893 w 2246"/>
              <a:gd name="T13" fmla="*/ 34 h 9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246" h="915">
                <a:moveTo>
                  <a:pt x="1893" y="34"/>
                </a:moveTo>
                <a:cubicBezTo>
                  <a:pt x="1665" y="82"/>
                  <a:pt x="1452" y="188"/>
                  <a:pt x="1257" y="315"/>
                </a:cubicBezTo>
                <a:cubicBezTo>
                  <a:pt x="984" y="492"/>
                  <a:pt x="732" y="715"/>
                  <a:pt x="421" y="808"/>
                </a:cubicBezTo>
                <a:cubicBezTo>
                  <a:pt x="282" y="850"/>
                  <a:pt x="135" y="864"/>
                  <a:pt x="0" y="915"/>
                </a:cubicBezTo>
                <a:cubicBezTo>
                  <a:pt x="2246" y="915"/>
                  <a:pt x="2246" y="915"/>
                  <a:pt x="2246" y="915"/>
                </a:cubicBezTo>
                <a:cubicBezTo>
                  <a:pt x="2246" y="10"/>
                  <a:pt x="2246" y="10"/>
                  <a:pt x="2246" y="10"/>
                </a:cubicBezTo>
                <a:cubicBezTo>
                  <a:pt x="2128" y="0"/>
                  <a:pt x="2008" y="9"/>
                  <a:pt x="1893" y="34"/>
                </a:cubicBezTo>
                <a:close/>
              </a:path>
            </a:pathLst>
          </a:custGeom>
          <a:solidFill>
            <a:srgbClr val="F7A700">
              <a:alpha val="50000"/>
            </a:srgbClr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Lato" panose="020F0502020204030203" pitchFamily="34" charset="0"/>
            </a:endParaRPr>
          </a:p>
        </p:txBody>
      </p:sp>
      <p:sp>
        <p:nvSpPr>
          <p:cNvPr id="15" name="CaixaDeTexto 2">
            <a:extLst>
              <a:ext uri="{FF2B5EF4-FFF2-40B4-BE49-F238E27FC236}">
                <a16:creationId xmlns:a16="http://schemas.microsoft.com/office/drawing/2014/main" id="{E4470F34-CA3F-485C-AFB7-89499DA116C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601039" y="6354250"/>
            <a:ext cx="179889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r>
              <a:rPr lang="kk-KZ" altLang="pt-PT" sz="1800" spc="400" dirty="0">
                <a:solidFill>
                  <a:schemeClr val="bg1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Май</a:t>
            </a:r>
            <a:r>
              <a:rPr lang="ru-RU" altLang="pt-PT" sz="1800" spc="400" dirty="0">
                <a:solidFill>
                  <a:schemeClr val="bg1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, 202</a:t>
            </a:r>
            <a:r>
              <a:rPr lang="en-US" altLang="pt-PT" sz="1800" spc="400" dirty="0">
                <a:solidFill>
                  <a:schemeClr val="bg1"/>
                </a:solidFill>
                <a:latin typeface="Century Gothic" panose="020B0502020202020204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75038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7345" y="898455"/>
            <a:ext cx="5814336" cy="5959545"/>
          </a:xfrm>
          <a:prstGeom prst="rect">
            <a:avLst/>
          </a:prstGeom>
          <a:solidFill>
            <a:srgbClr val="EDF5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" name="Рисунок 34"/>
          <p:cNvPicPr>
            <a:picLocks noChangeAspect="1"/>
            <a:extLst>
              <a:ext uri="smNativeData">
                <pr:smNativeData xmlns:pr="smNativeData" xmlns:p14="http://schemas.microsoft.com/office/powerpoint/2010/main" xmlns="" val="SMDATA_15_IO2KXhMAAAAlAAAAEQAAAC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AcAAAA4AAAAAAAAAAAAAAAAAAAA////AAAAAAAAAAAAAAAAAAAAAAAAAAAARgIAAAAAAABkAAAAZAAAAAAAAAAjAAAABAAAAGQAAAAXAAAAFAAAAAAAAAAAAAAA/38AAP9/AAAAAAAACQAAAAQAAAAAAAAADAAAABAAAAAAAAAAAAAAAAAAAAAAAAAAHgAAAGgAAAAAAAAAAAAAAAAAAAAAAAAAAAAAABAnAAAQJwAAAAAAAAAAAAAAAAAAAAAAAAAAAAAAAAAAAAAAAAAAAAAUAAAAAAAAAMDA/wAAAAAAZAAAADIAAAAAAAAAZAAAAAAAAAB/f38ACgAAAB8AAABUAAAAW5vVBf///wEAAAAAAAAAAAAAAAAAAAAAAAAAAAAAAAAAAAAAAAAAAAAAAAJ/f38A5+bmA8zMzADAwP8Af39/AAAAAAAAAAAAAAAAAP///wAAAAAAIQAAABgAAAAUAAAAAAAAAAAAAAAASwAAtAUAABAAAAAmAAAACAAAAP//////////"/>
              </a:ext>
            </a:extLst>
          </p:cNvPicPr>
          <p:nvPr/>
        </p:nvPicPr>
        <p:blipFill>
          <a:blip r:embed="rId3"/>
          <a:srcRect b="5820"/>
          <a:stretch>
            <a:fillRect/>
          </a:stretch>
        </p:blipFill>
        <p:spPr>
          <a:xfrm>
            <a:off x="0" y="-28645"/>
            <a:ext cx="12192000" cy="9271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3" name="Прямоугольник 17"/>
          <p:cNvSpPr>
            <a:extLst>
              <a:ext uri="smNativeData">
                <pr:smNativeData xmlns:pr="smNativeData" xmlns:p14="http://schemas.microsoft.com/office/powerpoint/2010/main" xmlns="" val="SMDATA_13_IO2KXhMAAAAlAAAAZAAAAA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BcAAAAUAAAAAAAAAAAAAAD/fwAA/38AAAAAAAAJAAAABAAAAAAAAAAMAAAAEAAAAAAAAAAAAAAAAAAAAAAAAAAeAAAAaAAAAAAAAAAAAAAAAAAAAAAAAAAAAAAAECcAABAnAAAAAAAAAAAAAAAAAAAAAAAAAAAAAAAAAAAAAAAAAAAAABQAAAAAAAAAwMD/AAAAAABkAAAAMgAAAAAAAABkAAAAAAAAAH9/fwAKAAAAHwAAAFQAAABbm9UF////AQAAAAAAAAAAAAAAAAAAAAAAAAAAAAAAAAAAAAAAAAAAAAAAAn9/fwDn5uYDzMzMAMDA/wB/f38AAAAAAAAAAAAAAAAAAAAAAAAAAAAhAAAAGAAAABQAAAD9AAAAoQEAALdCAAC7AwAAEAAAACYAAAAIAAAA//////////8="/>
              </a:ext>
            </a:extLst>
          </p:cNvSpPr>
          <p:nvPr/>
        </p:nvSpPr>
        <p:spPr>
          <a:xfrm>
            <a:off x="160655" y="264795"/>
            <a:ext cx="10684510" cy="34163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spcCol="215900" anchor="t"/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2" charset="0"/>
              <a:buChar char="•"/>
              <a:defRPr lang="ru-RU" sz="2800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 sz="2400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 sz="2000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2" charset="0"/>
              <a:buNone/>
              <a:tabLst/>
              <a:defRPr lang="ru-RU"/>
            </a:pPr>
            <a:endParaRPr kumimoji="0" lang="ru-RU" sz="2400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2" charset="0"/>
              <a:cs typeface="Arial" pitchFamily="2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3801" y="217541"/>
            <a:ext cx="1916879" cy="31452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21093" y="204777"/>
            <a:ext cx="8184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Управление подрядными организациями</a:t>
            </a:r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995019734"/>
              </p:ext>
            </p:extLst>
          </p:nvPr>
        </p:nvGraphicFramePr>
        <p:xfrm>
          <a:off x="-3184108" y="1293495"/>
          <a:ext cx="12206188" cy="495808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78907" y="1061483"/>
            <a:ext cx="5822185" cy="2631508"/>
          </a:xfrm>
          <a:prstGeom prst="rect">
            <a:avLst/>
          </a:prstGeom>
        </p:spPr>
      </p:pic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11621814"/>
              </p:ext>
            </p:extLst>
          </p:nvPr>
        </p:nvGraphicFramePr>
        <p:xfrm>
          <a:off x="6068759" y="4079592"/>
          <a:ext cx="2993160" cy="1680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graphicFrame>
        <p:nvGraphicFramePr>
          <p:cNvPr id="12" name="Диаграмма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06287126"/>
              </p:ext>
            </p:extLst>
          </p:nvPr>
        </p:nvGraphicFramePr>
        <p:xfrm>
          <a:off x="9101757" y="4079592"/>
          <a:ext cx="2828923" cy="16804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</p:spTree>
    <p:extLst>
      <p:ext uri="{BB962C8B-B14F-4D97-AF65-F5344CB8AC3E}">
        <p14:creationId xmlns:p14="http://schemas.microsoft.com/office/powerpoint/2010/main" val="11695008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CA2CD55A-4570-4C2F-B439-C21F2EC1A5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" y="0"/>
            <a:ext cx="12188976" cy="6858015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B642FF7-E1F1-47AC-8DEE-9B98818EEA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" y="0"/>
            <a:ext cx="12188976" cy="685801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173110B-8869-459E-9244-8E3D74E12A3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21" t="36296" r="14991" b="35926"/>
          <a:stretch/>
        </p:blipFill>
        <p:spPr>
          <a:xfrm>
            <a:off x="4079699" y="5451804"/>
            <a:ext cx="3696583" cy="833817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683165" y="2298491"/>
            <a:ext cx="10822647" cy="137345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lnSpc>
                <a:spcPct val="85000"/>
              </a:lnSpc>
              <a:defRPr b="1" spc="295">
                <a:solidFill>
                  <a:srgbClr val="F7A700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algn="ctr"/>
            <a:r>
              <a:rPr lang="ru-RU" sz="4897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БЛАГОДАРЮ </a:t>
            </a:r>
            <a:br>
              <a:rPr lang="ru-RU" sz="4897" dirty="0">
                <a:solidFill>
                  <a:schemeClr val="accent3">
                    <a:lumMod val="20000"/>
                    <a:lumOff val="80000"/>
                  </a:schemeClr>
                </a:solidFill>
              </a:rPr>
            </a:br>
            <a:r>
              <a:rPr lang="ru-RU" sz="4897" dirty="0">
                <a:solidFill>
                  <a:schemeClr val="accent3">
                    <a:lumMod val="20000"/>
                    <a:lumOff val="80000"/>
                  </a:schemeClr>
                </a:solidFill>
              </a:rPr>
              <a:t>ЗА ВНИМАНИЕ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97668" y="588286"/>
            <a:ext cx="1062260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2"/>
                </a:solidFill>
              </a:rPr>
              <a:t>Наша задача – выстраивание честных и доверительных отношений с работниками Компании, чтобы каждый почувствовал на деле заботу о его здоровье и осознанно выполнял требования норм и правил производственной безопасности</a:t>
            </a:r>
          </a:p>
        </p:txBody>
      </p:sp>
    </p:spTree>
    <p:extLst>
      <p:ext uri="{BB962C8B-B14F-4D97-AF65-F5344CB8AC3E}">
        <p14:creationId xmlns:p14="http://schemas.microsoft.com/office/powerpoint/2010/main" val="908146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l="45969" t="27003" r="22985" b="20698"/>
          <a:stretch/>
        </p:blipFill>
        <p:spPr>
          <a:xfrm>
            <a:off x="1078486" y="1255770"/>
            <a:ext cx="3912070" cy="3706942"/>
          </a:xfrm>
          <a:prstGeom prst="rect">
            <a:avLst/>
          </a:prstGeom>
        </p:spPr>
      </p:pic>
      <p:pic>
        <p:nvPicPr>
          <p:cNvPr id="2" name="Рисунок 34"/>
          <p:cNvPicPr>
            <a:picLocks noChangeAspect="1"/>
            <a:extLst>
              <a:ext uri="smNativeData">
                <pr:smNativeData xmlns:pr="smNativeData" xmlns:p14="http://schemas.microsoft.com/office/powerpoint/2010/main" xmlns="" val="SMDATA_15_IO2KXhMAAAAlAAAAEQAAAC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AcAAAA4AAAAAAAAAAAAAAAAAAAA////AAAAAAAAAAAAAAAAAAAAAAAAAAAARgIAAAAAAABkAAAAZAAAAAAAAAAjAAAABAAAAGQAAAAXAAAAFAAAAAAAAAAAAAAA/38AAP9/AAAAAAAACQAAAAQAAAAAAAAADAAAABAAAAAAAAAAAAAAAAAAAAAAAAAAHgAAAGgAAAAAAAAAAAAAAAAAAAAAAAAAAAAAABAnAAAQJwAAAAAAAAAAAAAAAAAAAAAAAAAAAAAAAAAAAAAAAAAAAAAUAAAAAAAAAMDA/wAAAAAAZAAAADIAAAAAAAAAZAAAAAAAAAB/f38ACgAAAB8AAABUAAAAW5vVBf///wEAAAAAAAAAAAAAAAAAAAAAAAAAAAAAAAAAAAAAAAAAAAAAAAJ/f38A5+bmA8zMzADAwP8Af39/AAAAAAAAAAAAAAAAAP///wAAAAAAIQAAABgAAAAUAAAAAAAAAAAAAAAASwAAtAUAABAAAAAmAAAACAAAAP//////////"/>
              </a:ext>
            </a:extLst>
          </p:cNvPicPr>
          <p:nvPr/>
        </p:nvPicPr>
        <p:blipFill>
          <a:blip r:embed="rId4"/>
          <a:srcRect b="5820"/>
          <a:stretch>
            <a:fillRect/>
          </a:stretch>
        </p:blipFill>
        <p:spPr>
          <a:xfrm>
            <a:off x="0" y="-19665"/>
            <a:ext cx="12192000" cy="9271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3" name="Прямоугольник 17"/>
          <p:cNvSpPr>
            <a:extLst>
              <a:ext uri="smNativeData">
                <pr:smNativeData xmlns:pr="smNativeData" xmlns:p14="http://schemas.microsoft.com/office/powerpoint/2010/main" xmlns="" val="SMDATA_13_IO2KXhMAAAAlAAAAZAAAAA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BcAAAAUAAAAAAAAAAAAAAD/fwAA/38AAAAAAAAJAAAABAAAAAAAAAAMAAAAEAAAAAAAAAAAAAAAAAAAAAAAAAAeAAAAaAAAAAAAAAAAAAAAAAAAAAAAAAAAAAAAECcAABAnAAAAAAAAAAAAAAAAAAAAAAAAAAAAAAAAAAAAAAAAAAAAABQAAAAAAAAAwMD/AAAAAABkAAAAMgAAAAAAAABkAAAAAAAAAH9/fwAKAAAAHwAAAFQAAABbm9UF////AQAAAAAAAAAAAAAAAAAAAAAAAAAAAAAAAAAAAAAAAAAAAAAAAn9/fwDn5uYDzMzMAMDA/wB/f38AAAAAAAAAAAAAAAAAAAAAAAAAAAAhAAAAGAAAABQAAAD9AAAAoQEAALdCAAC7AwAAEAAAACYAAAAIAAAA//////////8="/>
              </a:ext>
            </a:extLst>
          </p:cNvSpPr>
          <p:nvPr/>
        </p:nvSpPr>
        <p:spPr>
          <a:xfrm>
            <a:off x="160655" y="264795"/>
            <a:ext cx="10684510" cy="34163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spcCol="215900" anchor="t"/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2" charset="0"/>
              <a:buChar char="•"/>
              <a:defRPr lang="ru-RU" sz="2800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 sz="2400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 sz="2000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2" charset="0"/>
              <a:buNone/>
              <a:tabLst/>
              <a:defRPr lang="ru-RU"/>
            </a:pPr>
            <a:r>
              <a:rPr lang="ru-RU" sz="2400" b="1" noProof="1">
                <a:solidFill>
                  <a:srgbClr val="FFFFFF"/>
                </a:solidFill>
                <a:latin typeface="Arial" pitchFamily="2" charset="0"/>
                <a:cs typeface="Arial" pitchFamily="2" charset="0"/>
              </a:rPr>
              <a:t>Ценности, с</a:t>
            </a:r>
            <a:r>
              <a:rPr kumimoji="0" lang="ru-RU" sz="2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2" charset="0"/>
                <a:cs typeface="Arial" pitchFamily="2" charset="0"/>
              </a:rPr>
              <a:t>тратегия, политика 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3801" y="217541"/>
            <a:ext cx="1916879" cy="314523"/>
          </a:xfrm>
          <a:prstGeom prst="rect">
            <a:avLst/>
          </a:prstGeom>
        </p:spPr>
      </p:pic>
      <p:graphicFrame>
        <p:nvGraphicFramePr>
          <p:cNvPr id="10" name="Схема 9"/>
          <p:cNvGraphicFramePr/>
          <p:nvPr>
            <p:extLst>
              <p:ext uri="{D42A27DB-BD31-4B8C-83A1-F6EECF244321}">
                <p14:modId xmlns:p14="http://schemas.microsoft.com/office/powerpoint/2010/main" val="1139363281"/>
              </p:ext>
            </p:extLst>
          </p:nvPr>
        </p:nvGraphicFramePr>
        <p:xfrm>
          <a:off x="5735246" y="2534001"/>
          <a:ext cx="6136016" cy="36013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15" name="TextBox 14"/>
          <p:cNvSpPr txBox="1"/>
          <p:nvPr/>
        </p:nvSpPr>
        <p:spPr>
          <a:xfrm>
            <a:off x="5794619" y="1436610"/>
            <a:ext cx="6136016" cy="1569660"/>
          </a:xfrm>
          <a:prstGeom prst="rect">
            <a:avLst/>
          </a:prstGeom>
          <a:solidFill>
            <a:schemeClr val="bg1">
              <a:lumMod val="95000"/>
            </a:schemeClr>
          </a:solidFill>
          <a:effectLst>
            <a:glow rad="101600">
              <a:schemeClr val="accent4">
                <a:satMod val="175000"/>
                <a:alpha val="40000"/>
              </a:schemeClr>
            </a:glow>
          </a:effectLst>
        </p:spPr>
        <p:txBody>
          <a:bodyPr wrap="square" rtlCol="0">
            <a:spAutoFit/>
          </a:bodyPr>
          <a:lstStyle/>
          <a:p>
            <a:pPr algn="ctr"/>
            <a:r>
              <a:rPr lang="ru-RU" b="1" i="1" dirty="0">
                <a:solidFill>
                  <a:srgbClr val="002060"/>
                </a:solidFill>
              </a:rPr>
              <a:t>Миссия: АО «НАК «Казатомпром», занимая лидирующие позиции в мире по добыче природного урана, при осуществлении производственной деятельности относит сохранение жизни и здоровья людей и защиту окружающей среды к высшим приоритетам своей деятельности.</a:t>
            </a: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377746483"/>
              </p:ext>
            </p:extLst>
          </p:nvPr>
        </p:nvGraphicFramePr>
        <p:xfrm>
          <a:off x="177408" y="5171817"/>
          <a:ext cx="5463525" cy="147085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1056865" y="1104998"/>
            <a:ext cx="39553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Ценности Компании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60655" y="4832487"/>
            <a:ext cx="479214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b="1" dirty="0">
                <a:solidFill>
                  <a:schemeClr val="tx2"/>
                </a:solidFill>
              </a:rPr>
              <a:t>Безопасность: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6148884" y="5627546"/>
            <a:ext cx="572237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i="1" dirty="0">
                <a:solidFill>
                  <a:schemeClr val="tx2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В соответствии с действующей Политикой АО «НАК «Казатомпром» в области производственной безопасности утвержденной Решением Совета Директоров при осуществлении производственной деятельности Общество относит сохранение жизни и здоровья людей и защиту окружающей среды к высшим приоритетам. </a:t>
            </a:r>
          </a:p>
        </p:txBody>
      </p:sp>
    </p:spTree>
    <p:extLst>
      <p:ext uri="{BB962C8B-B14F-4D97-AF65-F5344CB8AC3E}">
        <p14:creationId xmlns:p14="http://schemas.microsoft.com/office/powerpoint/2010/main" val="41594074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Прямоугольник 35"/>
          <p:cNvSpPr/>
          <p:nvPr/>
        </p:nvSpPr>
        <p:spPr>
          <a:xfrm>
            <a:off x="6658356" y="937457"/>
            <a:ext cx="5429482" cy="3539606"/>
          </a:xfrm>
          <a:prstGeom prst="rect">
            <a:avLst/>
          </a:prstGeom>
          <a:solidFill>
            <a:srgbClr val="E7F0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658356" y="4516569"/>
            <a:ext cx="5436082" cy="2207816"/>
          </a:xfrm>
          <a:prstGeom prst="rect">
            <a:avLst/>
          </a:prstGeom>
          <a:solidFill>
            <a:srgbClr val="E7F0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5956" y="937456"/>
            <a:ext cx="6517217" cy="5786929"/>
          </a:xfrm>
          <a:prstGeom prst="rect">
            <a:avLst/>
          </a:prstGeom>
          <a:solidFill>
            <a:srgbClr val="E7F0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" name="Рисунок 34"/>
          <p:cNvPicPr>
            <a:picLocks noChangeAspect="1"/>
            <a:extLst>
              <a:ext uri="smNativeData">
                <pr:smNativeData xmlns:pr="smNativeData" xmlns:p14="http://schemas.microsoft.com/office/powerpoint/2010/main" xmlns="" val="SMDATA_15_IO2KXhMAAAAlAAAAEQAAAC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AcAAAA4AAAAAAAAAAAAAAAAAAAA////AAAAAAAAAAAAAAAAAAAAAAAAAAAARgIAAAAAAABkAAAAZAAAAAAAAAAjAAAABAAAAGQAAAAXAAAAFAAAAAAAAAAAAAAA/38AAP9/AAAAAAAACQAAAAQAAAAAAAAADAAAABAAAAAAAAAAAAAAAAAAAAAAAAAAHgAAAGgAAAAAAAAAAAAAAAAAAAAAAAAAAAAAABAnAAAQJwAAAAAAAAAAAAAAAAAAAAAAAAAAAAAAAAAAAAAAAAAAAAAUAAAAAAAAAMDA/wAAAAAAZAAAADIAAAAAAAAAZAAAAAAAAAB/f38ACgAAAB8AAABUAAAAW5vVBf///wEAAAAAAAAAAAAAAAAAAAAAAAAAAAAAAAAAAAAAAAAAAAAAAAJ/f38A5+bmA8zMzADAwP8Af39/AAAAAAAAAAAAAAAAAP///wAAAAAAIQAAABgAAAAUAAAAAAAAAAAAAAAASwAAtAUAABAAAAAmAAAACAAAAP//////////"/>
              </a:ext>
            </a:extLst>
          </p:cNvPicPr>
          <p:nvPr/>
        </p:nvPicPr>
        <p:blipFill>
          <a:blip r:embed="rId3"/>
          <a:srcRect b="5820"/>
          <a:stretch>
            <a:fillRect/>
          </a:stretch>
        </p:blipFill>
        <p:spPr>
          <a:xfrm>
            <a:off x="0" y="-19665"/>
            <a:ext cx="12192000" cy="92710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3801" y="217541"/>
            <a:ext cx="1916879" cy="31452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117166" y="3745444"/>
            <a:ext cx="3042593" cy="129266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just">
              <a:defRPr b="1">
                <a:solidFill>
                  <a:srgbClr val="000066"/>
                </a:solidFill>
              </a:defRPr>
            </a:lvl1pPr>
          </a:lstStyle>
          <a:p>
            <a:r>
              <a:rPr lang="ru-RU" sz="1300" dirty="0">
                <a:solidFill>
                  <a:schemeClr val="tx1"/>
                </a:solidFill>
              </a:rPr>
              <a:t>29 июня 2018 года АО НАК «</a:t>
            </a:r>
            <a:r>
              <a:rPr lang="ru-RU" sz="1300" dirty="0" err="1">
                <a:solidFill>
                  <a:schemeClr val="tx1"/>
                </a:solidFill>
              </a:rPr>
              <a:t>Казатомпром</a:t>
            </a:r>
            <a:r>
              <a:rPr lang="ru-RU" sz="1300" dirty="0">
                <a:solidFill>
                  <a:schemeClr val="tx1"/>
                </a:solidFill>
              </a:rPr>
              <a:t>» стала полноправным участником международного движения </a:t>
            </a:r>
            <a:r>
              <a:rPr lang="en-US" sz="1300" dirty="0">
                <a:solidFill>
                  <a:schemeClr val="tx1"/>
                </a:solidFill>
              </a:rPr>
              <a:t>Vision Zero </a:t>
            </a:r>
            <a:r>
              <a:rPr lang="ru-RU" sz="1300" dirty="0">
                <a:solidFill>
                  <a:schemeClr val="tx1"/>
                </a:solidFill>
              </a:rPr>
              <a:t>по продвижению концепции нулевого травматизма.</a:t>
            </a:r>
          </a:p>
        </p:txBody>
      </p:sp>
      <p:pic>
        <p:nvPicPr>
          <p:cNvPr id="12" name="Рисунок 11" descr="http://www.kazatomprom.kz/sites/default/files/vision_zero.jpg">
            <a:hlinkClick r:id="rId5"/>
          </p:cNvPr>
          <p:cNvPicPr/>
          <p:nvPr/>
        </p:nvPicPr>
        <p:blipFill>
          <a:blip r:embed="rId6" cstate="print"/>
          <a:stretch>
            <a:fillRect/>
          </a:stretch>
        </p:blipFill>
        <p:spPr bwMode="auto">
          <a:xfrm>
            <a:off x="168131" y="1749561"/>
            <a:ext cx="2991627" cy="1841995"/>
          </a:xfrm>
          <a:prstGeom prst="rect">
            <a:avLst/>
          </a:prstGeom>
          <a:noFill/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softEdge rad="63500"/>
          </a:effectLst>
        </p:spPr>
      </p:pic>
      <p:pic>
        <p:nvPicPr>
          <p:cNvPr id="25" name="Picture 2" descr="Картинки по запросу vision zero 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49" y="5116024"/>
            <a:ext cx="1583447" cy="15786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>
          <a:xfrm>
            <a:off x="310370" y="961321"/>
            <a:ext cx="2707148" cy="795529"/>
          </a:xfrm>
          <a:prstGeom prst="rect">
            <a:avLst/>
          </a:prstGeom>
          <a:blipFill rotWithShape="0">
            <a:blip r:embed="rId8"/>
            <a:srcRect/>
            <a:stretch>
              <a:fillRect t="-122902" b="-43590"/>
            </a:stretch>
          </a:blipFill>
          <a:ln>
            <a:solidFill>
              <a:schemeClr val="bg1"/>
            </a:solidFill>
          </a:ln>
        </p:spPr>
        <p:style>
          <a:lnRef idx="2">
            <a:schemeClr val="accent5">
              <a:hueOff val="-7353344"/>
              <a:satOff val="-10228"/>
              <a:lumOff val="-3922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TextBox 16"/>
          <p:cNvSpPr txBox="1"/>
          <p:nvPr/>
        </p:nvSpPr>
        <p:spPr>
          <a:xfrm>
            <a:off x="321093" y="204777"/>
            <a:ext cx="8184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noProof="1">
                <a:solidFill>
                  <a:srgbClr val="FFFFFF"/>
                </a:solidFill>
                <a:latin typeface="Arial" pitchFamily="2" charset="0"/>
                <a:cs typeface="Arial" pitchFamily="2" charset="0"/>
              </a:rPr>
              <a:t>ЦЕЛЬ: ДОСТИЖЕНИЕ НУЛЕВОГО ТРАВМАТИЗМ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79760" y="5200987"/>
            <a:ext cx="1254613" cy="680919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  <a:softEdge rad="12700"/>
          </a:effectLst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10"/>
          <a:srcRect t="48611" r="263"/>
          <a:stretch/>
        </p:blipFill>
        <p:spPr>
          <a:xfrm>
            <a:off x="10779248" y="5981332"/>
            <a:ext cx="1255638" cy="510908"/>
          </a:xfrm>
          <a:prstGeom prst="rect">
            <a:avLst/>
          </a:prstGeom>
          <a:effectLst>
            <a:outerShdw blurRad="50800" dist="38100" dir="18900000" algn="bl" rotWithShape="0">
              <a:prstClr val="black">
                <a:alpha val="40000"/>
              </a:prstClr>
            </a:outerShdw>
            <a:softEdge rad="12700"/>
          </a:effectLst>
        </p:spPr>
      </p:pic>
      <p:sp>
        <p:nvSpPr>
          <p:cNvPr id="22" name="TextBox 21"/>
          <p:cNvSpPr txBox="1"/>
          <p:nvPr/>
        </p:nvSpPr>
        <p:spPr>
          <a:xfrm>
            <a:off x="6795809" y="5235575"/>
            <a:ext cx="3939604" cy="129266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just">
              <a:defRPr b="1">
                <a:solidFill>
                  <a:srgbClr val="000066"/>
                </a:solidFill>
              </a:defRPr>
            </a:lvl1pPr>
          </a:lstStyle>
          <a:p>
            <a:pPr lvl="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 декабря 2022 года АО «НАК «</a:t>
            </a:r>
            <a:r>
              <a:rPr lang="ru-RU" sz="13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затомпром</a:t>
            </a:r>
            <a:r>
              <a:rPr lang="ru-RU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был присвоен первый независимый ESG рейтинг от ведущего международного рейтингового агентства S&amp;P </a:t>
            </a:r>
            <a:r>
              <a:rPr lang="ru-RU" sz="13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lobal</a:t>
            </a:r>
            <a:r>
              <a:rPr lang="ru-RU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3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tings</a:t>
            </a:r>
            <a:r>
              <a:rPr lang="ru-RU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Оценка АО «НАК «</a:t>
            </a:r>
            <a:r>
              <a:rPr lang="ru-RU" sz="13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затомпром</a:t>
            </a:r>
            <a:r>
              <a:rPr lang="ru-RU" sz="13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 составила 51 балл.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3315" y="1756850"/>
            <a:ext cx="3061854" cy="1827416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28" name="TextBox 27"/>
          <p:cNvSpPr txBox="1"/>
          <p:nvPr/>
        </p:nvSpPr>
        <p:spPr>
          <a:xfrm>
            <a:off x="3392576" y="3721734"/>
            <a:ext cx="3042593" cy="1169551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just">
              <a:defRPr b="1">
                <a:solidFill>
                  <a:srgbClr val="000066"/>
                </a:solidFill>
              </a:defRPr>
            </a:lvl1pPr>
          </a:lstStyle>
          <a:p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Всеми Первыми Руководителями группы компаний АО "НАК "</a:t>
            </a:r>
            <a:r>
              <a:rPr lang="ru-R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Казатомпром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" подписаны и взяты личные обязательства в рамках концепции </a:t>
            </a:r>
            <a:r>
              <a:rPr lang="ru-R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Vision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400" dirty="0" err="1">
                <a:solidFill>
                  <a:schemeClr val="tx1"/>
                </a:solidFill>
                <a:latin typeface="Arial Narrow" panose="020B0606020202030204" pitchFamily="34" charset="0"/>
              </a:rPr>
              <a:t>Zero</a:t>
            </a:r>
            <a:r>
              <a:rPr lang="ru-RU" sz="1400" dirty="0">
                <a:solidFill>
                  <a:schemeClr val="tx1"/>
                </a:solidFill>
                <a:latin typeface="Arial Narrow" panose="020B0606020202030204" pitchFamily="34" charset="0"/>
              </a:rPr>
              <a:t>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156529" y="4562026"/>
            <a:ext cx="458882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своение первого независимого </a:t>
            </a:r>
            <a:r>
              <a:rPr lang="en-US" sz="1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G </a:t>
            </a:r>
            <a:r>
              <a:rPr lang="ru-RU" sz="1500" b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йтинга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740332" y="3675469"/>
            <a:ext cx="5190348" cy="692497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 algn="just">
              <a:defRPr b="1">
                <a:solidFill>
                  <a:srgbClr val="000066"/>
                </a:solidFill>
              </a:defRPr>
            </a:lvl1pPr>
          </a:lstStyle>
          <a:p>
            <a:r>
              <a:rPr lang="ru-RU" sz="1300" dirty="0">
                <a:solidFill>
                  <a:schemeClr val="tx1"/>
                </a:solidFill>
              </a:rPr>
              <a:t>Ноябрь 2018 года АО НАК «</a:t>
            </a:r>
            <a:r>
              <a:rPr lang="ru-RU" sz="1300" dirty="0" err="1">
                <a:solidFill>
                  <a:schemeClr val="tx1"/>
                </a:solidFill>
              </a:rPr>
              <a:t>Казатомпром</a:t>
            </a:r>
            <a:r>
              <a:rPr lang="ru-RU" sz="1300" dirty="0">
                <a:solidFill>
                  <a:schemeClr val="tx1"/>
                </a:solidFill>
              </a:rPr>
              <a:t>» входит в </a:t>
            </a:r>
            <a:r>
              <a:rPr lang="en-US" sz="1300" dirty="0">
                <a:solidFill>
                  <a:schemeClr val="tx1"/>
                </a:solidFill>
              </a:rPr>
              <a:t>IPO</a:t>
            </a:r>
            <a:r>
              <a:rPr lang="ru-RU" sz="1300" dirty="0">
                <a:solidFill>
                  <a:schemeClr val="tx1"/>
                </a:solidFill>
              </a:rPr>
              <a:t> и берет на себя обязательства в области экологической и социальных сферах.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671973" y="1576291"/>
            <a:ext cx="3522068" cy="198057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0" name="Прямоугольник 9"/>
          <p:cNvSpPr/>
          <p:nvPr/>
        </p:nvSpPr>
        <p:spPr>
          <a:xfrm>
            <a:off x="7671973" y="1116823"/>
            <a:ext cx="332706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Выход на международный </a:t>
            </a:r>
            <a:r>
              <a:rPr lang="en-US" b="1" dirty="0">
                <a:solidFill>
                  <a:schemeClr val="tx2"/>
                </a:solidFill>
              </a:rPr>
              <a:t>IPO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3450189" y="1034607"/>
            <a:ext cx="290810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tx2"/>
                </a:solidFill>
              </a:rPr>
              <a:t>Обязательства, принятые </a:t>
            </a:r>
          </a:p>
          <a:p>
            <a:pPr algn="ctr"/>
            <a:r>
              <a:rPr lang="ru-RU" b="1" dirty="0">
                <a:solidFill>
                  <a:schemeClr val="tx2"/>
                </a:solidFill>
              </a:rPr>
              <a:t>первыми руководителями</a:t>
            </a:r>
            <a:endParaRPr lang="en-US" b="1" dirty="0">
              <a:solidFill>
                <a:schemeClr val="tx2"/>
              </a:solidFill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3219033" y="5393823"/>
            <a:ext cx="1582987" cy="69761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35" name="Picture 19">
            <a:extLst>
              <a:ext uri="{FF2B5EF4-FFF2-40B4-BE49-F238E27FC236}">
                <a16:creationId xmlns:a16="http://schemas.microsoft.com/office/drawing/2014/main" id="{F8F4D261-41B9-4216-9860-2F80C9763E5F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2020" y="5393823"/>
            <a:ext cx="1576786" cy="6908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27906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76936" y="948367"/>
            <a:ext cx="5224889" cy="5797873"/>
          </a:xfrm>
          <a:prstGeom prst="rect">
            <a:avLst/>
          </a:prstGeom>
          <a:solidFill>
            <a:srgbClr val="EDF5FD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pic>
        <p:nvPicPr>
          <p:cNvPr id="2" name="Рисунок 34"/>
          <p:cNvPicPr>
            <a:picLocks noChangeAspect="1"/>
            <a:extLst>
              <a:ext uri="smNativeData">
                <pr:smNativeData xmlns="" xmlns:p14="http://schemas.microsoft.com/office/powerpoint/2010/main" xmlns:pr="smNativeData" val="SMDATA_15_IO2KXhMAAAAlAAAAEQAAAC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AcAAAA4AAAAAAAAAAAAAAAAAAAA////AAAAAAAAAAAAAAAAAAAAAAAAAAAARgIAAAAAAABkAAAAZAAAAAAAAAAjAAAABAAAAGQAAAAXAAAAFAAAAAAAAAAAAAAA/38AAP9/AAAAAAAACQAAAAQAAAAAAAAADAAAABAAAAAAAAAAAAAAAAAAAAAAAAAAHgAAAGgAAAAAAAAAAAAAAAAAAAAAAAAAAAAAABAnAAAQJwAAAAAAAAAAAAAAAAAAAAAAAAAAAAAAAAAAAAAAAAAAAAAUAAAAAAAAAMDA/wAAAAAAZAAAADIAAAAAAAAAZAAAAAAAAAB/f38ACgAAAB8AAABUAAAAW5vVBf///wEAAAAAAAAAAAAAAAAAAAAAAAAAAAAAAAAAAAAAAAAAAAAAAAJ/f38A5+bmA8zMzADAwP8Af39/AAAAAAAAAAAAAAAAAP///wAAAAAAIQAAABgAAAAUAAAAAAAAAAAAAAAASwAAtAUAABAAAAAmAAAACAAAAP//////////"/>
              </a:ext>
            </a:extLst>
          </p:cNvPicPr>
          <p:nvPr/>
        </p:nvPicPr>
        <p:blipFill>
          <a:blip r:embed="rId3"/>
          <a:srcRect b="5820"/>
          <a:stretch>
            <a:fillRect/>
          </a:stretch>
        </p:blipFill>
        <p:spPr>
          <a:xfrm>
            <a:off x="0" y="-19665"/>
            <a:ext cx="12192000" cy="92710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3801" y="217541"/>
            <a:ext cx="1916879" cy="314523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-137635" y="1078316"/>
            <a:ext cx="523902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tx2"/>
                </a:solidFill>
              </a:rPr>
              <a:t>7 </a:t>
            </a:r>
            <a:r>
              <a:rPr lang="kk-KZ" sz="1800" b="1" dirty="0">
                <a:solidFill>
                  <a:schemeClr val="tx2"/>
                </a:solidFill>
              </a:rPr>
              <a:t>золотых правил</a:t>
            </a:r>
            <a:endParaRPr lang="ru-RU" sz="1800" b="1" dirty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4359" y="266554"/>
            <a:ext cx="3004371" cy="4862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3200" dirty="0">
                <a:solidFill>
                  <a:schemeClr val="bg1"/>
                </a:solidFill>
                <a:latin typeface="Aharoni" panose="02010803020104030203" pitchFamily="2" charset="-79"/>
                <a:ea typeface="Verdana" panose="020B0604030504040204" pitchFamily="34" charset="0"/>
                <a:cs typeface="Aharoni" panose="02010803020104030203" pitchFamily="2" charset="-79"/>
              </a:rPr>
              <a:t>VISION</a:t>
            </a:r>
            <a:r>
              <a:rPr lang="ru-RU" sz="3200" dirty="0">
                <a:solidFill>
                  <a:schemeClr val="bg1"/>
                </a:solidFill>
                <a:latin typeface="Aharoni" panose="02010803020104030203" pitchFamily="2" charset="-79"/>
                <a:ea typeface="Verdana" panose="020B0604030504040204" pitchFamily="34" charset="0"/>
                <a:cs typeface="Aharoni" panose="02010803020104030203" pitchFamily="2" charset="-79"/>
              </a:rPr>
              <a:t> </a:t>
            </a:r>
            <a:r>
              <a:rPr lang="en-US" sz="3200" dirty="0">
                <a:solidFill>
                  <a:schemeClr val="bg1"/>
                </a:solidFill>
                <a:latin typeface="Aharoni" panose="02010803020104030203" pitchFamily="2" charset="-79"/>
                <a:ea typeface="Verdana" panose="020B0604030504040204" pitchFamily="34" charset="0"/>
                <a:cs typeface="Aharoni" panose="02010803020104030203" pitchFamily="2" charset="-79"/>
              </a:rPr>
              <a:t>ZER</a:t>
            </a:r>
            <a:endParaRPr lang="ru-RU" sz="3200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Aharoni" panose="02010803020104030203" pitchFamily="2" charset="-79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09707" y="322572"/>
            <a:ext cx="947380" cy="317427"/>
          </a:xfrm>
          <a:prstGeom prst="rect">
            <a:avLst/>
          </a:prstGeom>
        </p:spPr>
      </p:pic>
      <p:graphicFrame>
        <p:nvGraphicFramePr>
          <p:cNvPr id="15" name="Схема 14"/>
          <p:cNvGraphicFramePr/>
          <p:nvPr>
            <p:extLst>
              <p:ext uri="{D42A27DB-BD31-4B8C-83A1-F6EECF244321}">
                <p14:modId xmlns:p14="http://schemas.microsoft.com/office/powerpoint/2010/main" val="1896729322"/>
              </p:ext>
            </p:extLst>
          </p:nvPr>
        </p:nvGraphicFramePr>
        <p:xfrm>
          <a:off x="307301" y="1667973"/>
          <a:ext cx="4794089" cy="491570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11"/>
          <a:srcRect l="24827" t="49371" r="27937" b="7727"/>
          <a:stretch/>
        </p:blipFill>
        <p:spPr>
          <a:xfrm>
            <a:off x="5312842" y="1703303"/>
            <a:ext cx="6879158" cy="357726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12"/>
          <a:srcRect l="74311" t="25657" r="1646" b="67370"/>
          <a:stretch/>
        </p:blipFill>
        <p:spPr>
          <a:xfrm>
            <a:off x="10111266" y="1703303"/>
            <a:ext cx="2091751" cy="341170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5911447" y="1103038"/>
            <a:ext cx="577594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800" b="1" dirty="0">
                <a:solidFill>
                  <a:schemeClr val="tx2"/>
                </a:solidFill>
              </a:rPr>
              <a:t>Обучение курсу «Культура Безопасности Труда»</a:t>
            </a:r>
          </a:p>
        </p:txBody>
      </p:sp>
      <p:pic>
        <p:nvPicPr>
          <p:cNvPr id="26" name="Picture 4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49909" y="4402350"/>
            <a:ext cx="608825" cy="504405"/>
          </a:xfrm>
          <a:prstGeom prst="rect">
            <a:avLst/>
          </a:prstGeom>
        </p:spPr>
      </p:pic>
      <p:pic>
        <p:nvPicPr>
          <p:cNvPr id="27" name="Picture 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78523" y="4567730"/>
            <a:ext cx="530807" cy="526377"/>
          </a:xfrm>
          <a:prstGeom prst="rect">
            <a:avLst/>
          </a:prstGeom>
        </p:spPr>
      </p:pic>
      <p:pic>
        <p:nvPicPr>
          <p:cNvPr id="28" name="Picture 7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63438" y="4567730"/>
            <a:ext cx="577878" cy="493332"/>
          </a:xfrm>
          <a:prstGeom prst="rect">
            <a:avLst/>
          </a:prstGeom>
        </p:spPr>
      </p:pic>
      <p:pic>
        <p:nvPicPr>
          <p:cNvPr id="29" name="Picture 9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2708" y="5212330"/>
            <a:ext cx="943335" cy="784984"/>
          </a:xfrm>
          <a:prstGeom prst="rect">
            <a:avLst/>
          </a:prstGeom>
        </p:spPr>
      </p:pic>
      <p:pic>
        <p:nvPicPr>
          <p:cNvPr id="30" name="Picture 8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2117" y="5212330"/>
            <a:ext cx="831321" cy="784984"/>
          </a:xfrm>
          <a:prstGeom prst="rect">
            <a:avLst/>
          </a:prstGeom>
        </p:spPr>
      </p:pic>
      <p:pic>
        <p:nvPicPr>
          <p:cNvPr id="31" name="Picture 10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6855" y="5212330"/>
            <a:ext cx="1143054" cy="823170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466"/>
          <a:stretch/>
        </p:blipFill>
        <p:spPr>
          <a:xfrm>
            <a:off x="11285313" y="5212330"/>
            <a:ext cx="804147" cy="784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3918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34"/>
          <p:cNvPicPr>
            <a:picLocks noChangeAspect="1"/>
            <a:extLst>
              <a:ext uri="smNativeData">
                <pr:smNativeData xmlns:pr="smNativeData" xmlns:p14="http://schemas.microsoft.com/office/powerpoint/2010/main" xmlns="" val="SMDATA_15_IO2KXhMAAAAlAAAAEQAAAC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AcAAAA4AAAAAAAAAAAAAAAAAAAA////AAAAAAAAAAAAAAAAAAAAAAAAAAAARgIAAAAAAABkAAAAZAAAAAAAAAAjAAAABAAAAGQAAAAXAAAAFAAAAAAAAAAAAAAA/38AAP9/AAAAAAAACQAAAAQAAAAAAAAADAAAABAAAAAAAAAAAAAAAAAAAAAAAAAAHgAAAGgAAAAAAAAAAAAAAAAAAAAAAAAAAAAAABAnAAAQJwAAAAAAAAAAAAAAAAAAAAAAAAAAAAAAAAAAAAAAAAAAAAAUAAAAAAAAAMDA/wAAAAAAZAAAADIAAAAAAAAAZAAAAAAAAAB/f38ACgAAAB8AAABUAAAAW5vVBf///wEAAAAAAAAAAAAAAAAAAAAAAAAAAAAAAAAAAAAAAAAAAAAAAAJ/f38A5+bmA8zMzADAwP8Af39/AAAAAAAAAAAAAAAAAP///wAAAAAAIQAAABgAAAAUAAAAAAAAAAAAAAAASwAAtAUAABAAAAAmAAAACAAAAP//////////"/>
              </a:ext>
            </a:extLst>
          </p:cNvPicPr>
          <p:nvPr/>
        </p:nvPicPr>
        <p:blipFill>
          <a:blip r:embed="rId3"/>
          <a:srcRect b="5820"/>
          <a:stretch>
            <a:fillRect/>
          </a:stretch>
        </p:blipFill>
        <p:spPr>
          <a:xfrm>
            <a:off x="0" y="-28645"/>
            <a:ext cx="12192000" cy="927100"/>
          </a:xfrm>
          <a:prstGeom prst="rect">
            <a:avLst/>
          </a:prstGeom>
          <a:noFill/>
          <a:ln>
            <a:noFill/>
          </a:ln>
          <a:effectLst/>
        </p:spPr>
      </p:pic>
      <p:sp>
        <p:nvSpPr>
          <p:cNvPr id="3" name="Прямоугольник 17"/>
          <p:cNvSpPr>
            <a:extLst>
              <a:ext uri="smNativeData">
                <pr:smNativeData xmlns:pr="smNativeData" xmlns:p14="http://schemas.microsoft.com/office/powerpoint/2010/main" xmlns="" val="SMDATA_13_IO2KXhMAAAAlAAAAZAAAAA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BcAAAAUAAAAAAAAAAAAAAD/fwAA/38AAAAAAAAJAAAABAAAAAAAAAAMAAAAEAAAAAAAAAAAAAAAAAAAAAAAAAAeAAAAaAAAAAAAAAAAAAAAAAAAAAAAAAAAAAAAECcAABAnAAAAAAAAAAAAAAAAAAAAAAAAAAAAAAAAAAAAAAAAAAAAABQAAAAAAAAAwMD/AAAAAABkAAAAMgAAAAAAAABkAAAAAAAAAH9/fwAKAAAAHwAAAFQAAABbm9UF////AQAAAAAAAAAAAAAAAAAAAAAAAAAAAAAAAAAAAAAAAAAAAAAAAn9/fwDn5uYDzMzMAMDA/wB/f38AAAAAAAAAAAAAAAAAAAAAAAAAAAAhAAAAGAAAABQAAAD9AAAAoQEAALdCAAC7AwAAEAAAACYAAAAIAAAA//////////8="/>
              </a:ext>
            </a:extLst>
          </p:cNvSpPr>
          <p:nvPr/>
        </p:nvSpPr>
        <p:spPr>
          <a:xfrm>
            <a:off x="160655" y="264795"/>
            <a:ext cx="10684510" cy="34163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spcCol="215900" anchor="t"/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2" charset="0"/>
              <a:buChar char="•"/>
              <a:defRPr lang="ru-RU" sz="2800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 sz="2400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 sz="2000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5pPr>
            <a:lvl6pPr marL="25146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6pPr>
            <a:lvl7pPr marL="29718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7pPr>
            <a:lvl8pPr marL="34290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8pPr>
            <a:lvl9pPr marL="3886200" indent="-22860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Font typeface="Arial" pitchFamily="2" charset="0"/>
              <a:buChar char="•"/>
              <a:defRPr lang="ru-RU">
                <a:solidFill>
                  <a:schemeClr val="tx1"/>
                </a:solidFill>
                <a:latin typeface="Calibri" pitchFamily="2" charset="-52"/>
                <a:ea typeface="Calibri" pitchFamily="2" charset="-52"/>
                <a:cs typeface="Calibri" pitchFamily="2" charset="-52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2" charset="0"/>
              <a:buNone/>
              <a:tabLst/>
              <a:defRPr lang="ru-RU"/>
            </a:pPr>
            <a:endParaRPr kumimoji="0" lang="ru-RU" sz="2400" b="1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2" charset="0"/>
              <a:cs typeface="Arial" pitchFamily="2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3801" y="217541"/>
            <a:ext cx="1916879" cy="314523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21093" y="204777"/>
            <a:ext cx="81849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bg1"/>
                </a:solidFill>
              </a:rPr>
              <a:t>СИСТЕМА ПРОИЗВОДСТВЕННОЙ БЕЗОПАСНОСТИ</a:t>
            </a:r>
          </a:p>
        </p:txBody>
      </p:sp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3666618021"/>
              </p:ext>
            </p:extLst>
          </p:nvPr>
        </p:nvGraphicFramePr>
        <p:xfrm>
          <a:off x="160654" y="992711"/>
          <a:ext cx="6522609" cy="5569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23" name="Прямоугольник 22"/>
          <p:cNvSpPr/>
          <p:nvPr/>
        </p:nvSpPr>
        <p:spPr>
          <a:xfrm>
            <a:off x="6766560" y="903649"/>
            <a:ext cx="5425440" cy="5954352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346500" y="2885774"/>
            <a:ext cx="4452928" cy="3676826"/>
            <a:chOff x="7234740" y="2410108"/>
            <a:chExt cx="4452928" cy="3676826"/>
          </a:xfrm>
        </p:grpSpPr>
        <p:sp>
          <p:nvSpPr>
            <p:cNvPr id="24" name="Скругленный прямоугольник 23"/>
            <p:cNvSpPr/>
            <p:nvPr/>
          </p:nvSpPr>
          <p:spPr>
            <a:xfrm>
              <a:off x="7234740" y="4870777"/>
              <a:ext cx="4452928" cy="1216157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>
                  <a:solidFill>
                    <a:srgbClr val="002060"/>
                  </a:solidFill>
                </a:rPr>
                <a:t>Ежемесячные совещания с участием СЕО-1 КАП и руководителей служб производственной безопасности ДЗО</a:t>
              </a: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7234741" y="2410108"/>
              <a:ext cx="4452927" cy="731607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>
                  <a:solidFill>
                    <a:srgbClr val="002060"/>
                  </a:solidFill>
                </a:rPr>
                <a:t>Комитет HSE при Совете Директоров </a:t>
              </a:r>
              <a:br>
                <a:rPr lang="ru-RU" b="1" dirty="0">
                  <a:solidFill>
                    <a:srgbClr val="002060"/>
                  </a:solidFill>
                </a:rPr>
              </a:br>
              <a:r>
                <a:rPr lang="ru-RU" b="1" dirty="0">
                  <a:solidFill>
                    <a:srgbClr val="002060"/>
                  </a:solidFill>
                </a:rPr>
                <a:t>АО «НАК «</a:t>
              </a:r>
              <a:r>
                <a:rPr lang="ru-RU" b="1" dirty="0" err="1">
                  <a:solidFill>
                    <a:srgbClr val="002060"/>
                  </a:solidFill>
                </a:rPr>
                <a:t>Казатомпром</a:t>
              </a:r>
              <a:r>
                <a:rPr lang="ru-RU" b="1" dirty="0">
                  <a:solidFill>
                    <a:srgbClr val="002060"/>
                  </a:solidFill>
                </a:rPr>
                <a:t>»</a:t>
              </a:r>
            </a:p>
          </p:txBody>
        </p:sp>
        <p:sp>
          <p:nvSpPr>
            <p:cNvPr id="28" name="Скругленный прямоугольник 27"/>
            <p:cNvSpPr/>
            <p:nvPr/>
          </p:nvSpPr>
          <p:spPr>
            <a:xfrm>
              <a:off x="7234741" y="3395843"/>
              <a:ext cx="4452927" cy="1220807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ru-RU" b="1" dirty="0">
                  <a:solidFill>
                    <a:srgbClr val="002060"/>
                  </a:solidFill>
                </a:rPr>
                <a:t>Ежеквартальные совещания с участием Председателя Правления КАП и Первых руководителей ДЗО по вопросам производственной безопасности</a:t>
              </a:r>
            </a:p>
          </p:txBody>
        </p:sp>
        <p:sp>
          <p:nvSpPr>
            <p:cNvPr id="30" name="Стрелка вниз 29"/>
            <p:cNvSpPr/>
            <p:nvPr/>
          </p:nvSpPr>
          <p:spPr>
            <a:xfrm>
              <a:off x="9287624" y="3141716"/>
              <a:ext cx="347161" cy="256157"/>
            </a:xfrm>
            <a:prstGeom prst="downArrow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  <p:sp>
          <p:nvSpPr>
            <p:cNvPr id="31" name="Стрелка вниз 30"/>
            <p:cNvSpPr/>
            <p:nvPr/>
          </p:nvSpPr>
          <p:spPr>
            <a:xfrm>
              <a:off x="9287624" y="4616649"/>
              <a:ext cx="347161" cy="256157"/>
            </a:xfrm>
            <a:prstGeom prst="downArrow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rgbClr val="00206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 err="1">
                <a:solidFill>
                  <a:schemeClr val="tx1"/>
                </a:solidFill>
              </a:endParaRPr>
            </a:p>
          </p:txBody>
        </p:sp>
      </p:grpSp>
      <p:sp>
        <p:nvSpPr>
          <p:cNvPr id="32" name="TextBox 31"/>
          <p:cNvSpPr txBox="1"/>
          <p:nvPr/>
        </p:nvSpPr>
        <p:spPr>
          <a:xfrm>
            <a:off x="7067235" y="992394"/>
            <a:ext cx="50044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002060"/>
                </a:solidFill>
              </a:rPr>
              <a:t>Вовлеченность руководителей в вопросы производственной безопасности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346500" y="1828215"/>
            <a:ext cx="4452927" cy="731607"/>
          </a:xfrm>
          <a:prstGeom prst="round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b="1" dirty="0">
                <a:solidFill>
                  <a:srgbClr val="002060"/>
                </a:solidFill>
              </a:rPr>
              <a:t>Принятие обязательств высшим руководством Компании в сфере производственной безопасности</a:t>
            </a:r>
          </a:p>
        </p:txBody>
      </p:sp>
      <p:sp>
        <p:nvSpPr>
          <p:cNvPr id="17" name="Стрелка вниз 16"/>
          <p:cNvSpPr/>
          <p:nvPr/>
        </p:nvSpPr>
        <p:spPr>
          <a:xfrm>
            <a:off x="9392329" y="2591626"/>
            <a:ext cx="354216" cy="294147"/>
          </a:xfrm>
          <a:prstGeom prst="downArrow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39979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739734" y="1195727"/>
            <a:ext cx="3915916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Внедрение Процедуры осуществления права на приостановку или на прекращение работ (СТОП КАРТЫ)</a:t>
            </a:r>
            <a:endParaRPr lang="ru-RU" sz="1800" b="1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37343" y="986485"/>
            <a:ext cx="1341814" cy="1341814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1873949" y="2409658"/>
            <a:ext cx="353692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нификация подходов к проведению аттестации производственных объектов по условиям труда</a:t>
            </a:r>
            <a:endParaRPr lang="ru-RU" sz="1800" b="1" dirty="0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2333" b="98444" l="3556" r="98556">
                        <a14:foregroundMark x1="18000" y1="21444" x2="18000" y2="21444"/>
                        <a14:foregroundMark x1="23444" y1="16556" x2="23444" y2="16556"/>
                        <a14:foregroundMark x1="32889" y1="11556" x2="32889" y2="11556"/>
                        <a14:foregroundMark x1="42333" y1="30444" x2="42333" y2="30444"/>
                        <a14:foregroundMark x1="44667" y1="54778" x2="44667" y2="54778"/>
                        <a14:foregroundMark x1="55667" y1="45889" x2="55667" y2="45889"/>
                        <a14:foregroundMark x1="56222" y1="62889" x2="56222" y2="62889"/>
                        <a14:foregroundMark x1="52222" y1="68556" x2="52222" y2="68556"/>
                        <a14:foregroundMark x1="45444" y1="68556" x2="45444" y2="68556"/>
                        <a14:foregroundMark x1="44889" y1="68556" x2="44889" y2="68556"/>
                        <a14:foregroundMark x1="49667" y1="30444" x2="49667" y2="30444"/>
                        <a14:foregroundMark x1="49889" y1="30111" x2="53778" y2="27778"/>
                        <a14:foregroundMark x1="63778" y1="38222" x2="63778" y2="38222"/>
                        <a14:foregroundMark x1="63778" y1="38222" x2="63778" y2="38222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376369" y="2451830"/>
            <a:ext cx="1200971" cy="1200971"/>
          </a:xfrm>
          <a:prstGeom prst="rect">
            <a:avLst/>
          </a:prstGeom>
        </p:spPr>
      </p:pic>
      <p:sp>
        <p:nvSpPr>
          <p:cNvPr id="23" name="Заголовок 1"/>
          <p:cNvSpPr>
            <a:extLst>
              <a:ext uri="smNativeData">
                <pr:smNativeData xmlns:pr="smNativeData" xmlns:p14="http://schemas.microsoft.com/office/powerpoint/2010/main" xmlns="" val="SMDATA_13_wCyhXhMAAAAlAAAAZAAAAA0AAAAAkAAAAEgAAACQAAAASAAAAAAAAAACAAAAAAAAAAEAAABQAAAAAAAAAAAA4D8AAAAAAADgPwAAAAAAAOA/AAAAAAAA4D8AAAAAAADgPwAAAAAAAOA/AAAAAAAA4D8AAAAAAADgPwAAAAAAAOA/AAAAAAAA4D8CAAAAjAAAAAAAAAAAAAAA////AP///wgAAAAAAAAAAAAAAAAAAAAAAAAAAAAAAAAAAAAAeAAAAAEAAABAAAAAAAAAAAAAAABaAAAAAAAAAAAAAAAAAAAAAAAAAAAAAAAAAAAAAAAAAAAAAAAAAAAAAAAAAAAAAAAAAAAAAAAAAAAAAAAAAAAAAAAAAAAAAAAAAAAAFAAAADwAAAAAAAAAAAAAAAAAAAAPAAAAAQAAACMAAAAjAAAAIwAAAB4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BcAAAAUAAAAAAAAAAAAAAD/fwAA/38AAAAAAAAJAAAABAAAADxhOnMMAAAAEAAAAAAAAAAAAAAAAAAAAAAAAAAeAAAAaAAAAAAAAAAAAAAAAAAAAAAAAAAAAAAAECcAABAnAAAAAAAAAAAAAAAAAAAAAAAAAAAAAAAAAAAAAAAAAAAAABQAAAAAAAAAwMD/AAAAAABkAAAAMgAAAAAAAABkAAAAAAAAAH9/fwAKAAAAHwAAAFQAAAD///8A////AQAAAAAAAAAAAAAAAAAAAAAAAAAAAAAAAAAAAAAAAAAAAAAAAH9/fwDn5uYDzMzMAMDA/wB/f38AAAAAAAAAAAAAAAAAAAAAAAAAAAAhAAAAGAAAABQAAABUAAAAkQAAAAorAACNAwAAEAAAACYAAAAIAAAA//////////8="/>
              </a:ext>
            </a:extLst>
          </p:cNvSpPr>
          <p:nvPr/>
        </p:nvSpPr>
        <p:spPr>
          <a:xfrm>
            <a:off x="1577340" y="92075"/>
            <a:ext cx="6943090" cy="4851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spcCol="215900" anchor="b"/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tabLst/>
              <a:defRPr lang="ru-RU" sz="6000" kern="1">
                <a:solidFill>
                  <a:schemeClr val="tx1"/>
                </a:solidFill>
                <a:latin typeface="Calibri Light" pitchFamily="2" charset="-52"/>
                <a:ea typeface="Calibri" pitchFamily="2" charset="-52"/>
                <a:cs typeface="Calibri" pitchFamily="2" charset="-52"/>
              </a:defRPr>
            </a:lvl1pPr>
            <a:lvl2pPr>
              <a:defRPr lang="ru-RU"/>
            </a:lvl2pPr>
            <a:lvl3pPr>
              <a:defRPr lang="ru-RU"/>
            </a:lvl3pPr>
            <a:lvl4pPr>
              <a:defRPr lang="ru-RU"/>
            </a:lvl4pPr>
            <a:lvl5pPr>
              <a:defRPr lang="ru-RU"/>
            </a:lvl5pPr>
            <a:lvl6pPr>
              <a:defRPr lang="ru-RU"/>
            </a:lvl6pPr>
            <a:lvl7pPr>
              <a:defRPr lang="ru-RU"/>
            </a:lvl7pPr>
            <a:lvl8pPr>
              <a:defRPr lang="ru-RU"/>
            </a:lvl8pPr>
            <a:lvl9pPr>
              <a:defRPr lang="ru-RU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/>
            </a:pPr>
            <a:endParaRPr kumimoji="0" lang="ru-RU" sz="2000" b="1" i="0" u="none" strike="noStrike" kern="1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itchFamily="2" charset="-52"/>
              <a:cs typeface="Calibri" pitchFamily="2" charset="-52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2152"/>
            <a:ext cx="12192000" cy="155625"/>
          </a:xfrm>
          <a:prstGeom prst="rect">
            <a:avLst/>
          </a:prstGeom>
          <a:solidFill>
            <a:srgbClr val="F2A51E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0" y="-1882"/>
            <a:ext cx="12192000" cy="723253"/>
          </a:xfrm>
          <a:prstGeom prst="rect">
            <a:avLst/>
          </a:prstGeom>
          <a:solidFill>
            <a:srgbClr val="224084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2B335F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0395" y="-142364"/>
            <a:ext cx="1957097" cy="977168"/>
          </a:xfrm>
          <a:prstGeom prst="rect">
            <a:avLst/>
          </a:prstGeom>
        </p:spPr>
      </p:pic>
      <p:sp>
        <p:nvSpPr>
          <p:cNvPr id="3075" name="Прямоугольник 17"/>
          <p:cNvSpPr>
            <a:spLocks noChangeArrowheads="1"/>
          </p:cNvSpPr>
          <p:nvPr/>
        </p:nvSpPr>
        <p:spPr bwMode="auto">
          <a:xfrm>
            <a:off x="109241" y="200404"/>
            <a:ext cx="12082759" cy="379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  <a:defRPr lang="ru-RU"/>
            </a:pPr>
            <a:r>
              <a:rPr lang="ru-RU" sz="2400" b="1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itchFamily="2" charset="-52"/>
                <a:cs typeface="Arial" panose="020B0604020202020204" pitchFamily="34" charset="0"/>
              </a:rPr>
              <a:t>Действующие ПРОЦЕССЫ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 rotWithShape="1"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778" b="99556" l="3556" r="98222">
                        <a14:foregroundMark x1="12000" y1="48444" x2="12000" y2="48444"/>
                        <a14:foregroundMark x1="53778" y1="79111" x2="53778" y2="79111"/>
                        <a14:foregroundMark x1="41778" y1="21333" x2="41778" y2="21333"/>
                        <a14:foregroundMark x1="43111" y1="27111" x2="43111" y2="27111"/>
                        <a14:foregroundMark x1="44000" y1="32000" x2="44000" y2="32000"/>
                        <a14:foregroundMark x1="47556" y1="42222" x2="47556" y2="42222"/>
                        <a14:foregroundMark x1="48444" y1="46667" x2="48444" y2="46667"/>
                        <a14:foregroundMark x1="73778" y1="48889" x2="73778" y2="48889"/>
                        <a14:foregroundMark x1="72444" y1="60444" x2="72444" y2="60444"/>
                        <a14:foregroundMark x1="76889" y1="48444" x2="76889" y2="48444"/>
                        <a14:foregroundMark x1="68889" y1="49333" x2="68889" y2="49333"/>
                      </a14:backgroundRemoval>
                    </a14:imgEffect>
                  </a14:imgLayer>
                </a14:imgProps>
              </a:ext>
            </a:extLst>
          </a:blip>
          <a:srcRect l="4161" t="4125" b="5568"/>
          <a:stretch/>
        </p:blipFill>
        <p:spPr>
          <a:xfrm>
            <a:off x="342513" y="3877226"/>
            <a:ext cx="1176768" cy="1108846"/>
          </a:xfrm>
          <a:prstGeom prst="rect">
            <a:avLst/>
          </a:prstGeom>
        </p:spPr>
      </p:pic>
      <p:sp>
        <p:nvSpPr>
          <p:cNvPr id="26" name="TextBox 25"/>
          <p:cNvSpPr txBox="1"/>
          <p:nvPr/>
        </p:nvSpPr>
        <p:spPr>
          <a:xfrm>
            <a:off x="1935594" y="4062742"/>
            <a:ext cx="341363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Проведение поведенческих аудитов безопасности </a:t>
            </a:r>
            <a:endParaRPr lang="ru-RU" sz="18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  <a:p>
            <a:endParaRPr lang="ru-RU" sz="1800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369" y="1050072"/>
            <a:ext cx="1177333" cy="117733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2659820"/>
            <a:ext cx="1419061" cy="1064296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1754602" y="1211249"/>
            <a:ext cx="37756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kk-KZ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Регистрация опасных условий, опасных действий и </a:t>
            </a:r>
            <a:r>
              <a:rPr lang="en-US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Near Miss </a:t>
            </a:r>
            <a:r>
              <a:rPr lang="kk-KZ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в еди</a:t>
            </a:r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ной информационной системе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7739734" y="2570900"/>
            <a:ext cx="381461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Единый порядок информирования о несчастных случаях, ДТП, инцидентах. Форма информационных бюллетеней</a:t>
            </a: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884815"/>
            <a:ext cx="1513965" cy="1507236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7739734" y="3914722"/>
            <a:ext cx="391031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Применение системы «LOCKOUT/TAGOUT» для обеспечения безопасности персонала при ремонте или техническом обслуживании промышленного оборудования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34" t="9630" r="1802" b="7259"/>
          <a:stretch/>
        </p:blipFill>
        <p:spPr>
          <a:xfrm>
            <a:off x="463748" y="5201104"/>
            <a:ext cx="1263685" cy="1541146"/>
          </a:xfrm>
          <a:prstGeom prst="rect">
            <a:avLst/>
          </a:prstGeom>
          <a:effectLst>
            <a:softEdge rad="63500"/>
          </a:effectLst>
        </p:spPr>
      </p:pic>
      <p:sp>
        <p:nvSpPr>
          <p:cNvPr id="3" name="Прямоугольник 2"/>
          <p:cNvSpPr/>
          <p:nvPr/>
        </p:nvSpPr>
        <p:spPr>
          <a:xfrm>
            <a:off x="7813040" y="5669129"/>
            <a:ext cx="383700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Регулярный </a:t>
            </a:r>
            <a:r>
              <a:rPr lang="ru-RU" sz="18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фит</a:t>
            </a:r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-тест на оборудовании </a:t>
            </a:r>
            <a:r>
              <a:rPr lang="en-US" sz="1800" b="1" dirty="0" err="1">
                <a:solidFill>
                  <a:schemeClr val="tx2"/>
                </a:solidFill>
                <a:latin typeface="Arial Narrow" panose="020B0606020202030204" pitchFamily="34" charset="0"/>
              </a:rPr>
              <a:t>PortaCount</a:t>
            </a:r>
            <a:r>
              <a:rPr lang="en-US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 Respirator Fit Tester</a:t>
            </a:r>
            <a:endParaRPr lang="ru-RU" sz="18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56324" y="5692967"/>
            <a:ext cx="1556716" cy="875653"/>
          </a:xfrm>
          <a:prstGeom prst="rect">
            <a:avLst/>
          </a:prstGeom>
        </p:spPr>
      </p:pic>
      <p:sp>
        <p:nvSpPr>
          <p:cNvPr id="27" name="TextBox 26"/>
          <p:cNvSpPr txBox="1"/>
          <p:nvPr/>
        </p:nvSpPr>
        <p:spPr>
          <a:xfrm>
            <a:off x="1873948" y="5264922"/>
            <a:ext cx="365626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Электронная система</a:t>
            </a:r>
          </a:p>
          <a:p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медицинских осмотров, которая полностью автоматизирует процесс медицинского освидетельствования</a:t>
            </a:r>
          </a:p>
          <a:p>
            <a:endParaRPr lang="ru-RU" sz="1800" b="1" dirty="0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878047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34"/>
          <p:cNvPicPr>
            <a:picLocks noChangeAspect="1"/>
            <a:extLst>
              <a:ext uri="smNativeData">
                <pr:smNativeData xmlns="" xmlns:p14="http://schemas.microsoft.com/office/powerpoint/2010/main" xmlns:pr="smNativeData" val="SMDATA_15_IO2KXhMAAAAlAAAAEQAAAC0AAAAAkAAAAEgAAACQAAAASAAAAAAAAAAAAAAAAAAAAAEAAABQAAAAAAAAAAAA4D8AAAAAAADgPwAAAAAAAOA/AAAAAAAA4D8AAAAAAADgPwAAAAAAAOA/AAAAAAAA4D8AAAAAAADgPwAAAAAAAOA/AAAAAAAA4D8CAAAAjAAAAAAAAAAAAAAAW5vVDP///wgAAAAAAAAAAAAAAAAAAAAAAAAAAAAAAAAAAAAAZAAAAAEAAABAAAAAAAAAAAAAAAAAAAAAAAAAAAAAAAAAAAAAAAAAAAAAAAAAAAAAAAAAAAAAAAAAAAAAAAAAAAAAAAAAAAAAAAAAAAAAAAAAAAAAAAAAAAAAAAAAAAAAFAAAADwAAAAAAAAAAAAAAAAAAAkUAAAAAQAAABQAAAAUAAAAFAAAAAE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AcAAAA4AAAAAAAAAAAAAAAAAAAA////AAAAAAAAAAAAAAAAAAAAAAAAAAAARgIAAAAAAABkAAAAZAAAAAAAAAAjAAAABAAAAGQAAAAXAAAAFAAAAAAAAAAAAAAA/38AAP9/AAAAAAAACQAAAAQAAAAAAAAADAAAABAAAAAAAAAAAAAAAAAAAAAAAAAAHgAAAGgAAAAAAAAAAAAAAAAAAAAAAAAAAAAAABAnAAAQJwAAAAAAAAAAAAAAAAAAAAAAAAAAAAAAAAAAAAAAAAAAAAAUAAAAAAAAAMDA/wAAAAAAZAAAADIAAAAAAAAAZAAAAAAAAAB/f38ACgAAAB8AAABUAAAAW5vVBf///wEAAAAAAAAAAAAAAAAAAAAAAAAAAAAAAAAAAAAAAAAAAAAAAAJ/f38A5+bmA8zMzADAwP8Af39/AAAAAAAAAAAAAAAAAP///wAAAAAAIQAAABgAAAAUAAAAAAAAAAAAAAAASwAAtAUAABAAAAAmAAAACAAAAP//////////"/>
              </a:ext>
            </a:extLst>
          </p:cNvPicPr>
          <p:nvPr/>
        </p:nvPicPr>
        <p:blipFill>
          <a:blip r:embed="rId3"/>
          <a:srcRect b="5820"/>
          <a:stretch>
            <a:fillRect/>
          </a:stretch>
        </p:blipFill>
        <p:spPr>
          <a:xfrm>
            <a:off x="0" y="-19665"/>
            <a:ext cx="12192000" cy="927100"/>
          </a:xfrm>
          <a:prstGeom prst="rect">
            <a:avLst/>
          </a:prstGeom>
          <a:noFill/>
          <a:ln>
            <a:noFill/>
          </a:ln>
          <a:effectLst/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3801" y="217541"/>
            <a:ext cx="1916879" cy="314523"/>
          </a:xfrm>
          <a:prstGeom prst="rect">
            <a:avLst/>
          </a:prstGeom>
        </p:spPr>
      </p:pic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410939" y="-127615"/>
            <a:ext cx="9204325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sz="3600" b="1" kern="1200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j-lt"/>
                <a:ea typeface="+mj-ea"/>
                <a:cs typeface="+mj-cs"/>
              </a:defRPr>
            </a:lvl1pPr>
            <a:lvl2pPr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Univers" pitchFamily="34" charset="0"/>
              </a:defRPr>
            </a:lvl2pPr>
            <a:lvl3pPr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Univers" pitchFamily="34" charset="0"/>
              </a:defRPr>
            </a:lvl3pPr>
            <a:lvl4pPr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Univers" pitchFamily="34" charset="0"/>
              </a:defRPr>
            </a:lvl4pPr>
            <a:lvl5pPr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Univers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Univers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Univers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Univers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 b="1">
                <a:solidFill>
                  <a:schemeClr val="tx2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Univers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STOP-</a:t>
            </a:r>
            <a:r>
              <a:rPr kumimoji="0" lang="ru-RU" altLang="ru-RU" sz="3200" b="1" i="0" u="none" strike="noStrike" kern="1200" cap="none" spc="0" normalizeH="0" baseline="0" noProof="0" dirty="0">
                <a:ln>
                  <a:noFill/>
                </a:ln>
                <a:solidFill>
                  <a:srgbClr val="FFC000"/>
                </a:solidFill>
                <a:effectLst>
                  <a:outerShdw blurRad="38100" dist="38100" dir="2700000" algn="tl">
                    <a:srgbClr val="000000"/>
                  </a:outerShdw>
                </a:effectLst>
                <a:uLnTx/>
                <a:uFillTx/>
                <a:latin typeface="Arial" panose="020B0604020202020204" pitchFamily="34" charset="0"/>
                <a:ea typeface="+mj-ea"/>
                <a:cs typeface="+mj-cs"/>
              </a:rPr>
              <a:t>КАРТА</a:t>
            </a:r>
            <a:endParaRPr kumimoji="0" lang="en-GB" altLang="ru-RU" sz="3200" b="1" i="0" u="none" strike="noStrike" kern="1200" cap="none" spc="0" normalizeH="0" baseline="0" noProof="0" dirty="0">
              <a:ln>
                <a:noFill/>
              </a:ln>
              <a:solidFill>
                <a:srgbClr val="FFC000"/>
              </a:solidFill>
              <a:effectLst>
                <a:outerShdw blurRad="38100" dist="38100" dir="2700000" algn="tl">
                  <a:srgbClr val="000000"/>
                </a:outerShdw>
              </a:effectLst>
              <a:uLnTx/>
              <a:uFillTx/>
              <a:latin typeface="Arial" panose="020B0604020202020204" pitchFamily="34" charset="0"/>
              <a:ea typeface="+mj-ea"/>
              <a:cs typeface="+mj-cs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D4770926-A2EC-0B58-5F7B-AC89665E9E8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50779" t="32913" r="17827" b="32678"/>
          <a:stretch/>
        </p:blipFill>
        <p:spPr>
          <a:xfrm>
            <a:off x="64333" y="1295934"/>
            <a:ext cx="3788103" cy="2468951"/>
          </a:xfrm>
          <a:prstGeom prst="rect">
            <a:avLst/>
          </a:prstGeom>
          <a:ln w="12700">
            <a:solidFill>
              <a:schemeClr val="tx1"/>
            </a:solidFill>
          </a:ln>
          <a:effectLst>
            <a:softEdge rad="31750"/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87143" y="977541"/>
            <a:ext cx="4140522" cy="565037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49740" y="970359"/>
            <a:ext cx="3940099" cy="565755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4770926-A2EC-0B58-5F7B-AC89665E9E88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7949" t="32225" r="50921" b="33857"/>
          <a:stretch/>
        </p:blipFill>
        <p:spPr>
          <a:xfrm>
            <a:off x="120959" y="3673445"/>
            <a:ext cx="3731477" cy="2449098"/>
          </a:xfrm>
          <a:prstGeom prst="rect">
            <a:avLst/>
          </a:prstGeom>
          <a:ln>
            <a:noFill/>
          </a:ln>
          <a:effectLst>
            <a:softEdge rad="12700"/>
          </a:effectLst>
        </p:spPr>
      </p:pic>
    </p:spTree>
    <p:extLst>
      <p:ext uri="{BB962C8B-B14F-4D97-AF65-F5344CB8AC3E}">
        <p14:creationId xmlns:p14="http://schemas.microsoft.com/office/powerpoint/2010/main" val="15628870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3373625" y="1497801"/>
            <a:ext cx="286868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истема </a:t>
            </a:r>
            <a:r>
              <a:rPr lang="en-US" sz="18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GPS </a:t>
            </a:r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ониторинга и</a:t>
            </a:r>
          </a:p>
          <a:p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испетчерская служба 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7210" y="982240"/>
            <a:ext cx="2942825" cy="1463103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Прямоугольник 4"/>
          <p:cNvSpPr/>
          <p:nvPr/>
        </p:nvSpPr>
        <p:spPr>
          <a:xfrm>
            <a:off x="3373625" y="2795903"/>
            <a:ext cx="260640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Устройство вызова </a:t>
            </a:r>
          </a:p>
          <a:p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экстренных оперативных служб </a:t>
            </a:r>
            <a:r>
              <a:rPr lang="ru-RU" sz="1800" b="1" dirty="0">
                <a:solidFill>
                  <a:srgbClr val="C00000"/>
                </a:solidFill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«Тревожная кнопка»</a:t>
            </a:r>
          </a:p>
        </p:txBody>
      </p:sp>
      <p:pic>
        <p:nvPicPr>
          <p:cNvPr id="27" name="Picture 6" descr="Картинки по запросу &quot;Установка тревожной кнопки на большегрузные машины&quot;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1238" y="2633476"/>
            <a:ext cx="2942825" cy="1265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8793126" y="3032747"/>
            <a:ext cx="29664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800" b="1" dirty="0">
                <a:solidFill>
                  <a:schemeClr val="tx2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Реализация программы </a:t>
            </a:r>
          </a:p>
          <a:p>
            <a:pPr algn="ctr"/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«МАЛ </a:t>
            </a:r>
            <a:r>
              <a:rPr lang="ru-RU" sz="1800" b="1" dirty="0" err="1">
                <a:solidFill>
                  <a:schemeClr val="tx2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жан</a:t>
            </a:r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АМАН»</a:t>
            </a: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491" y="2584432"/>
            <a:ext cx="2450635" cy="1402482"/>
          </a:xfrm>
          <a:prstGeom prst="rect">
            <a:avLst/>
          </a:prstGeom>
        </p:spPr>
      </p:pic>
      <p:sp>
        <p:nvSpPr>
          <p:cNvPr id="23" name="Заголовок 1"/>
          <p:cNvSpPr>
            <a:extLst>
              <a:ext uri="smNativeData">
                <pr:smNativeData xmlns:pr="smNativeData" xmlns:p14="http://schemas.microsoft.com/office/powerpoint/2010/main" xmlns="" val="SMDATA_13_wCyhXhMAAAAlAAAAZAAAAA0AAAAAkAAAAEgAAACQAAAASAAAAAAAAAACAAAAAAAAAAEAAABQAAAAAAAAAAAA4D8AAAAAAADgPwAAAAAAAOA/AAAAAAAA4D8AAAAAAADgPwAAAAAAAOA/AAAAAAAA4D8AAAAAAADgPwAAAAAAAOA/AAAAAAAA4D8CAAAAjAAAAAAAAAAAAAAA////AP///wgAAAAAAAAAAAAAAAAAAAAAAAAAAAAAAAAAAAAAeAAAAAEAAABAAAAAAAAAAAAAAABaAAAAAAAAAAAAAAAAAAAAAAAAAAAAAAAAAAAAAAAAAAAAAAAAAAAAAAAAAAAAAAAAAAAAAAAAAAAAAAAAAAAAAAAAAAAAAAAAAAAAFAAAADwAAAAAAAAAAAAAAAAAAAAPAAAAAQAAACMAAAAjAAAAIwAAAB4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BcAAAAUAAAAAAAAAAAAAAD/fwAA/38AAAAAAAAJAAAABAAAADxhOnMMAAAAEAAAAAAAAAAAAAAAAAAAAAAAAAAeAAAAaAAAAAAAAAAAAAAAAAAAAAAAAAAAAAAAECcAABAnAAAAAAAAAAAAAAAAAAAAAAAAAAAAAAAAAAAAAAAAAAAAABQAAAAAAAAAwMD/AAAAAABkAAAAMgAAAAAAAABkAAAAAAAAAH9/fwAKAAAAHwAAAFQAAAD///8A////AQAAAAAAAAAAAAAAAAAAAAAAAAAAAAAAAAAAAAAAAAAAAAAAAH9/fwDn5uYDzMzMAMDA/wB/f38AAAAAAAAAAAAAAAAAAAAAAAAAAAAhAAAAGAAAABQAAABUAAAAkQAAAAorAACNAwAAEAAAACYAAAAIAAAA//////////8="/>
              </a:ext>
            </a:extLst>
          </p:cNvSpPr>
          <p:nvPr/>
        </p:nvSpPr>
        <p:spPr>
          <a:xfrm>
            <a:off x="1577340" y="92075"/>
            <a:ext cx="6943090" cy="4851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spcCol="215900" anchor="b"/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tabLst/>
              <a:defRPr lang="ru-RU" sz="6000" kern="1">
                <a:solidFill>
                  <a:schemeClr val="tx1"/>
                </a:solidFill>
                <a:latin typeface="Calibri Light" pitchFamily="2" charset="-52"/>
                <a:ea typeface="Calibri" pitchFamily="2" charset="-52"/>
                <a:cs typeface="Calibri" pitchFamily="2" charset="-52"/>
              </a:defRPr>
            </a:lvl1pPr>
            <a:lvl2pPr>
              <a:defRPr lang="ru-RU"/>
            </a:lvl2pPr>
            <a:lvl3pPr>
              <a:defRPr lang="ru-RU"/>
            </a:lvl3pPr>
            <a:lvl4pPr>
              <a:defRPr lang="ru-RU"/>
            </a:lvl4pPr>
            <a:lvl5pPr>
              <a:defRPr lang="ru-RU"/>
            </a:lvl5pPr>
            <a:lvl6pPr>
              <a:defRPr lang="ru-RU"/>
            </a:lvl6pPr>
            <a:lvl7pPr>
              <a:defRPr lang="ru-RU"/>
            </a:lvl7pPr>
            <a:lvl8pPr>
              <a:defRPr lang="ru-RU"/>
            </a:lvl8pPr>
            <a:lvl9pPr>
              <a:defRPr lang="ru-RU"/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lang="ru-RU"/>
            </a:pPr>
            <a:endParaRPr kumimoji="0" lang="ru-RU" sz="2000" b="1" i="0" u="none" strike="noStrike" kern="1" cap="all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itchFamily="2" charset="-52"/>
              <a:cs typeface="Calibri" pitchFamily="2" charset="-52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2152"/>
            <a:ext cx="12192000" cy="155625"/>
          </a:xfrm>
          <a:prstGeom prst="rect">
            <a:avLst/>
          </a:prstGeom>
          <a:solidFill>
            <a:srgbClr val="F2A51E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0" y="-1882"/>
            <a:ext cx="12192000" cy="723253"/>
          </a:xfrm>
          <a:prstGeom prst="rect">
            <a:avLst/>
          </a:prstGeom>
          <a:solidFill>
            <a:srgbClr val="224084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2B335F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0395" y="-142364"/>
            <a:ext cx="1957097" cy="977168"/>
          </a:xfrm>
          <a:prstGeom prst="rect">
            <a:avLst/>
          </a:prstGeom>
        </p:spPr>
      </p:pic>
      <p:sp>
        <p:nvSpPr>
          <p:cNvPr id="3075" name="Прямоугольник 17"/>
          <p:cNvSpPr>
            <a:spLocks noChangeArrowheads="1"/>
          </p:cNvSpPr>
          <p:nvPr/>
        </p:nvSpPr>
        <p:spPr bwMode="auto">
          <a:xfrm>
            <a:off x="109241" y="158060"/>
            <a:ext cx="12082759" cy="379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None/>
              <a:defRPr lang="ru-RU"/>
            </a:pPr>
            <a:r>
              <a:rPr lang="ru-RU" sz="2400" b="1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itchFamily="2" charset="-52"/>
                <a:cs typeface="Arial" panose="020B0604020202020204" pitchFamily="34" charset="0"/>
              </a:rPr>
              <a:t>Безопасность</a:t>
            </a:r>
            <a:r>
              <a:rPr lang="kk-KZ" sz="2400" b="1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itchFamily="2" charset="-52"/>
                <a:cs typeface="Arial" panose="020B0604020202020204" pitchFamily="34" charset="0"/>
              </a:rPr>
              <a:t> </a:t>
            </a:r>
            <a:r>
              <a:rPr lang="ru-RU" sz="2400" b="1" cap="all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itchFamily="2" charset="-52"/>
                <a:cs typeface="Arial" panose="020B0604020202020204" pitchFamily="34" charset="0"/>
              </a:rPr>
              <a:t>на автотранспорте</a:t>
            </a: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7"/>
          <a:srcRect l="1135" t="17511" r="2946" b="12264"/>
          <a:stretch/>
        </p:blipFill>
        <p:spPr>
          <a:xfrm>
            <a:off x="334424" y="4291042"/>
            <a:ext cx="1749767" cy="1886575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53E00940-4618-48D0-907E-563B7A72D4F0}"/>
              </a:ext>
            </a:extLst>
          </p:cNvPr>
          <p:cNvGrpSpPr/>
          <p:nvPr/>
        </p:nvGrpSpPr>
        <p:grpSpPr>
          <a:xfrm>
            <a:off x="2010846" y="4232795"/>
            <a:ext cx="1478754" cy="2003061"/>
            <a:chOff x="812454" y="800893"/>
            <a:chExt cx="2802193" cy="4180366"/>
          </a:xfrm>
        </p:grpSpPr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18F94E98-40D3-4F1F-A706-72B3A62C26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1130" r="14281"/>
            <a:stretch/>
          </p:blipFill>
          <p:spPr>
            <a:xfrm>
              <a:off x="1304467" y="994028"/>
              <a:ext cx="1818169" cy="3794097"/>
            </a:xfrm>
            <a:custGeom>
              <a:avLst/>
              <a:gdLst>
                <a:gd name="connsiteX0" fmla="*/ 229618 w 1818169"/>
                <a:gd name="connsiteY0" fmla="*/ 0 h 3794097"/>
                <a:gd name="connsiteX1" fmla="*/ 1577919 w 1818169"/>
                <a:gd name="connsiteY1" fmla="*/ 0 h 3794097"/>
                <a:gd name="connsiteX2" fmla="*/ 1818169 w 1818169"/>
                <a:gd name="connsiteY2" fmla="*/ 240250 h 3794097"/>
                <a:gd name="connsiteX3" fmla="*/ 1818169 w 1818169"/>
                <a:gd name="connsiteY3" fmla="*/ 3553847 h 3794097"/>
                <a:gd name="connsiteX4" fmla="*/ 1577919 w 1818169"/>
                <a:gd name="connsiteY4" fmla="*/ 3794097 h 3794097"/>
                <a:gd name="connsiteX5" fmla="*/ 229618 w 1818169"/>
                <a:gd name="connsiteY5" fmla="*/ 3794097 h 3794097"/>
                <a:gd name="connsiteX6" fmla="*/ 8248 w 1818169"/>
                <a:gd name="connsiteY6" fmla="*/ 3647363 h 3794097"/>
                <a:gd name="connsiteX7" fmla="*/ 0 w 1818169"/>
                <a:gd name="connsiteY7" fmla="*/ 3620792 h 3794097"/>
                <a:gd name="connsiteX8" fmla="*/ 0 w 1818169"/>
                <a:gd name="connsiteY8" fmla="*/ 173305 h 3794097"/>
                <a:gd name="connsiteX9" fmla="*/ 8248 w 1818169"/>
                <a:gd name="connsiteY9" fmla="*/ 146734 h 3794097"/>
                <a:gd name="connsiteX10" fmla="*/ 229618 w 1818169"/>
                <a:gd name="connsiteY10" fmla="*/ 0 h 37940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818169" h="3794097">
                  <a:moveTo>
                    <a:pt x="229618" y="0"/>
                  </a:moveTo>
                  <a:lnTo>
                    <a:pt x="1577919" y="0"/>
                  </a:lnTo>
                  <a:cubicBezTo>
                    <a:pt x="1710605" y="0"/>
                    <a:pt x="1818169" y="107564"/>
                    <a:pt x="1818169" y="240250"/>
                  </a:cubicBezTo>
                  <a:lnTo>
                    <a:pt x="1818169" y="3553847"/>
                  </a:lnTo>
                  <a:cubicBezTo>
                    <a:pt x="1818169" y="3686533"/>
                    <a:pt x="1710605" y="3794097"/>
                    <a:pt x="1577919" y="3794097"/>
                  </a:cubicBezTo>
                  <a:lnTo>
                    <a:pt x="229618" y="3794097"/>
                  </a:lnTo>
                  <a:cubicBezTo>
                    <a:pt x="130104" y="3794097"/>
                    <a:pt x="44720" y="3733592"/>
                    <a:pt x="8248" y="3647363"/>
                  </a:cubicBezTo>
                  <a:lnTo>
                    <a:pt x="0" y="3620792"/>
                  </a:lnTo>
                  <a:lnTo>
                    <a:pt x="0" y="173305"/>
                  </a:lnTo>
                  <a:lnTo>
                    <a:pt x="8248" y="146734"/>
                  </a:lnTo>
                  <a:cubicBezTo>
                    <a:pt x="44720" y="60505"/>
                    <a:pt x="130104" y="0"/>
                    <a:pt x="229618" y="0"/>
                  </a:cubicBezTo>
                  <a:close/>
                </a:path>
              </a:pathLst>
            </a:custGeom>
          </p:spPr>
        </p:pic>
        <p:pic>
          <p:nvPicPr>
            <p:cNvPr id="37" name="Рисунок 36">
              <a:extLst>
                <a:ext uri="{FF2B5EF4-FFF2-40B4-BE49-F238E27FC236}">
                  <a16:creationId xmlns:a16="http://schemas.microsoft.com/office/drawing/2014/main" id="{4D9E7F16-9EE0-4327-8C5D-EB7337E4F4B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2454" y="800893"/>
              <a:ext cx="2802193" cy="4180366"/>
            </a:xfrm>
            <a:prstGeom prst="rect">
              <a:avLst/>
            </a:prstGeom>
          </p:spPr>
        </p:pic>
      </p:grpSp>
      <p:sp>
        <p:nvSpPr>
          <p:cNvPr id="38" name="Прямоугольник 37"/>
          <p:cNvSpPr/>
          <p:nvPr/>
        </p:nvSpPr>
        <p:spPr>
          <a:xfrm>
            <a:off x="3489600" y="4758156"/>
            <a:ext cx="26064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Проведение опросов по безопасности движения посредством </a:t>
            </a:r>
            <a:r>
              <a:rPr lang="en-US" sz="1800" b="1" dirty="0">
                <a:solidFill>
                  <a:srgbClr val="002060"/>
                </a:solidFill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QR-</a:t>
            </a:r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кодов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4404" y="1011821"/>
            <a:ext cx="2388722" cy="1433521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9036205" y="1474385"/>
            <a:ext cx="32499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kk-KZ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О</a:t>
            </a:r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бучение по курсу </a:t>
            </a:r>
          </a:p>
          <a:p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«Безопасное вождение»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793126" y="4690312"/>
            <a:ext cx="319862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>
                <a:solidFill>
                  <a:schemeClr val="tx2"/>
                </a:solidFill>
                <a:latin typeface="Arial Narrow" panose="020B0606020202030204" pitchFamily="34" charset="0"/>
              </a:rPr>
              <a:t>Тренажер-симулятор, предназначенный для обучения и проверки знаний водителей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148"/>
          <a:stretch/>
        </p:blipFill>
        <p:spPr>
          <a:xfrm>
            <a:off x="6342491" y="4126004"/>
            <a:ext cx="2450635" cy="2109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53971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890789" y="1078390"/>
            <a:ext cx="156226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8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С «еКАР»</a:t>
            </a:r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 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001827" y="939891"/>
            <a:ext cx="36896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Оценочные листы для командированных сотрудников</a:t>
            </a:r>
            <a:endParaRPr lang="ru-RU" sz="1800" b="1" dirty="0">
              <a:solidFill>
                <a:srgbClr val="C00000"/>
              </a:solidFill>
              <a:latin typeface="Arial Narrow" panose="020B0606020202030204" pitchFamily="34" charset="0"/>
              <a:ea typeface="Cambria" panose="020405030504060302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8286864" y="4203909"/>
            <a:ext cx="34470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800" b="1" dirty="0">
                <a:solidFill>
                  <a:srgbClr val="0029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Автоматизированная система медицинских осмотров</a:t>
            </a:r>
            <a:endParaRPr lang="ru-RU" sz="1800" b="1" dirty="0">
              <a:solidFill>
                <a:srgbClr val="0029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" name="Заголовок 1"/>
          <p:cNvSpPr>
            <a:extLst>
              <a:ext uri="smNativeData">
                <pr:smNativeData xmlns="" xmlns:p14="http://schemas.microsoft.com/office/powerpoint/2010/main" xmlns:pr="smNativeData" val="SMDATA_13_wCyhXhMAAAAlAAAAZAAAAA0AAAAAkAAAAEgAAACQAAAASAAAAAAAAAACAAAAAAAAAAEAAABQAAAAAAAAAAAA4D8AAAAAAADgPwAAAAAAAOA/AAAAAAAA4D8AAAAAAADgPwAAAAAAAOA/AAAAAAAA4D8AAAAAAADgPwAAAAAAAOA/AAAAAAAA4D8CAAAAjAAAAAAAAAAAAAAA////AP///wgAAAAAAAAAAAAAAAAAAAAAAAAAAAAAAAAAAAAAeAAAAAEAAABAAAAAAAAAAAAAAABaAAAAAAAAAAAAAAAAAAAAAAAAAAAAAAAAAAAAAAAAAAAAAAAAAAAAAAAAAAAAAAAAAAAAAAAAAAAAAAAAAAAAAAAAAAAAAAAAAAAAFAAAADwAAAAAAAAAAAAAAAAAAAAPAAAAAQAAACMAAAAjAAAAIwAAAB4AAAAAAAAAZAAAAGQAAAAAAAAAZAAAAGQAAAAVAAAAYAAAAAAAAAAAAAAADwAAACADAAAAAAAAAAAAAAEAAACgMgAAVgcAAKr4//8BAAAAf39/AAEAAABkAAAAAAAAABQAAABAHwAAAAAAACYAAAAAAAAAwOD//wAAAAAmAAAAZAAAABYAAABMAAAAAAAAAAAAAAAEAAAAAAAAAAEAAADn5uYKAAAAACgAAAAoAAAAZAAAAGQAAAAAAAAAzMzMAAAAAABQAAAAUAAAAGQAAABkAAAAAAAAABcAAAAUAAAAAAAAAAAAAAD/fwAA/38AAAAAAAAJAAAABAAAADxhOnMMAAAAEAAAAAAAAAAAAAAAAAAAAAAAAAAeAAAAaAAAAAAAAAAAAAAAAAAAAAAAAAAAAAAAECcAABAnAAAAAAAAAAAAAAAAAAAAAAAAAAAAAAAAAAAAAAAAAAAAABQAAAAAAAAAwMD/AAAAAABkAAAAMgAAAAAAAABkAAAAAAAAAH9/fwAKAAAAHwAAAFQAAAD///8A////AQAAAAAAAAAAAAAAAAAAAAAAAAAAAAAAAAAAAAAAAAAAAAAAAH9/fwDn5uYDzMzMAMDA/wB/f38AAAAAAAAAAAAAAAAAAAAAAAAAAAAhAAAAGAAAABQAAABUAAAAkQAAAAorAACNAwAAEAAAACYAAAAIAAAA//////////8="/>
              </a:ext>
            </a:extLst>
          </p:cNvSpPr>
          <p:nvPr/>
        </p:nvSpPr>
        <p:spPr>
          <a:xfrm>
            <a:off x="1577340" y="92075"/>
            <a:ext cx="6943090" cy="48514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spcCol="215900" anchor="b"/>
          <a:lstStyle>
            <a:lvl1pPr algn="ctr" defTabSz="914400">
              <a:lnSpc>
                <a:spcPct val="90000"/>
              </a:lnSpc>
              <a:spcBef>
                <a:spcPts val="0"/>
              </a:spcBef>
              <a:buNone/>
              <a:tabLst/>
              <a:defRPr lang="ru-RU" sz="6000" kern="1">
                <a:solidFill>
                  <a:schemeClr val="tx1"/>
                </a:solidFill>
                <a:latin typeface="Calibri Light" pitchFamily="2" charset="-52"/>
                <a:ea typeface="Calibri" pitchFamily="2" charset="-52"/>
                <a:cs typeface="Calibri" pitchFamily="2" charset="-52"/>
              </a:defRPr>
            </a:lvl1pPr>
            <a:lvl2pPr>
              <a:defRPr lang="ru-RU"/>
            </a:lvl2pPr>
            <a:lvl3pPr>
              <a:defRPr lang="ru-RU"/>
            </a:lvl3pPr>
            <a:lvl4pPr>
              <a:defRPr lang="ru-RU"/>
            </a:lvl4pPr>
            <a:lvl5pPr>
              <a:defRPr lang="ru-RU"/>
            </a:lvl5pPr>
            <a:lvl6pPr>
              <a:defRPr lang="ru-RU"/>
            </a:lvl6pPr>
            <a:lvl7pPr>
              <a:defRPr lang="ru-RU"/>
            </a:lvl7pPr>
            <a:lvl8pPr>
              <a:defRPr lang="ru-RU"/>
            </a:lvl8pPr>
            <a:lvl9pPr>
              <a:defRPr lang="ru-RU"/>
            </a:lvl9pPr>
          </a:lstStyle>
          <a:p>
            <a:pPr fontAlgn="auto">
              <a:spcAft>
                <a:spcPts val="0"/>
              </a:spcAft>
              <a:defRPr lang="ru-RU"/>
            </a:pPr>
            <a:endParaRPr sz="2000" b="1" cap="all">
              <a:solidFill>
                <a:prstClr val="white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0" y="632152"/>
            <a:ext cx="12192000" cy="155625"/>
          </a:xfrm>
          <a:prstGeom prst="rect">
            <a:avLst/>
          </a:prstGeom>
          <a:solidFill>
            <a:srgbClr val="F2A51E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ru-RU" kern="0">
              <a:solidFill>
                <a:prstClr val="white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0" y="-1882"/>
            <a:ext cx="12192000" cy="723253"/>
          </a:xfrm>
          <a:prstGeom prst="rect">
            <a:avLst/>
          </a:prstGeom>
          <a:solidFill>
            <a:srgbClr val="224084"/>
          </a:solidFill>
          <a:ln>
            <a:noFill/>
          </a:ln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p:spPr>
        <p:txBody>
          <a:bodyPr rtlCol="0" anchor="ctr"/>
          <a:lstStyle/>
          <a:p>
            <a:pPr algn="ctr">
              <a:defRPr/>
            </a:pPr>
            <a:endParaRPr lang="ru-RU" kern="0" dirty="0">
              <a:solidFill>
                <a:srgbClr val="2B335F"/>
              </a:solidFill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0395" y="-142364"/>
            <a:ext cx="1957097" cy="977168"/>
          </a:xfrm>
          <a:prstGeom prst="rect">
            <a:avLst/>
          </a:prstGeom>
        </p:spPr>
      </p:pic>
      <p:sp>
        <p:nvSpPr>
          <p:cNvPr id="3075" name="Прямоугольник 17"/>
          <p:cNvSpPr>
            <a:spLocks noChangeArrowheads="1"/>
          </p:cNvSpPr>
          <p:nvPr/>
        </p:nvSpPr>
        <p:spPr bwMode="auto">
          <a:xfrm>
            <a:off x="109241" y="158060"/>
            <a:ext cx="12082759" cy="379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buFont typeface="Arial" panose="020B0604020202020204" pitchFamily="34" charset="0"/>
              <a:buNone/>
              <a:defRPr lang="ru-RU"/>
            </a:pPr>
            <a:r>
              <a:rPr lang="ru-RU" sz="2400" b="1" cap="all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itchFamily="2" charset="-52"/>
                <a:cs typeface="Arial" panose="020B0604020202020204" pitchFamily="34" charset="0"/>
              </a:rPr>
              <a:t>Применение цифровых решений</a:t>
            </a:r>
          </a:p>
        </p:txBody>
      </p:sp>
      <p:sp>
        <p:nvSpPr>
          <p:cNvPr id="38" name="Прямоугольник 37"/>
          <p:cNvSpPr/>
          <p:nvPr/>
        </p:nvSpPr>
        <p:spPr>
          <a:xfrm>
            <a:off x="158695" y="4342518"/>
            <a:ext cx="302646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2060"/>
                </a:solidFill>
                <a:latin typeface="Arial Narrow" panose="020B0606020202030204" pitchFamily="34" charset="0"/>
                <a:ea typeface="Cambria" panose="02040503050406030204" pitchFamily="18" charset="0"/>
                <a:cs typeface="Times New Roman" panose="02020603050405020304" pitchFamily="18" charset="0"/>
              </a:rPr>
              <a:t>Опросы удовлетворенност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7899830" y="1078390"/>
            <a:ext cx="42298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kk-KZ" sz="1800" b="1" dirty="0">
                <a:solidFill>
                  <a:srgbClr val="002960"/>
                </a:solidFill>
                <a:latin typeface="Arial Narrow" panose="020B0606020202030204" pitchFamily="34" charset="0"/>
              </a:rPr>
              <a:t>Корпоративное хранилище данных (КХД)</a:t>
            </a:r>
            <a:endParaRPr lang="ru-RU" sz="1800" b="1" dirty="0">
              <a:solidFill>
                <a:srgbClr val="002960"/>
              </a:solidFill>
              <a:latin typeface="Arial Narrow" panose="020B060602020203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924336" y="4342409"/>
            <a:ext cx="38446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>
                <a:solidFill>
                  <a:srgbClr val="002960"/>
                </a:solidFill>
                <a:latin typeface="Arial Narrow" panose="020B0606020202030204" pitchFamily="34" charset="0"/>
              </a:rPr>
              <a:t>Почтовый ящик для обратной связи</a:t>
            </a: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0287" y="4979673"/>
            <a:ext cx="2563276" cy="1444099"/>
          </a:xfrm>
          <a:prstGeom prst="rect">
            <a:avLst/>
          </a:prstGeom>
        </p:spPr>
      </p:pic>
      <p:sp>
        <p:nvSpPr>
          <p:cNvPr id="28" name="Rounded Rectangle 5">
            <a:extLst>
              <a:ext uri="{FF2B5EF4-FFF2-40B4-BE49-F238E27FC236}">
                <a16:creationId xmlns:a16="http://schemas.microsoft.com/office/drawing/2014/main" id="{B5A177C8-7AB0-4E40-873A-70F231B3FA06}"/>
              </a:ext>
            </a:extLst>
          </p:cNvPr>
          <p:cNvSpPr/>
          <p:nvPr/>
        </p:nvSpPr>
        <p:spPr>
          <a:xfrm flipH="1">
            <a:off x="5413030" y="5066365"/>
            <a:ext cx="867241" cy="755198"/>
          </a:xfrm>
          <a:custGeom>
            <a:avLst/>
            <a:gdLst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702049"/>
              <a:gd name="connsiteX1" fmla="*/ 1574067 w 3217557"/>
              <a:gd name="connsiteY1" fmla="*/ 851360 h 2702049"/>
              <a:gd name="connsiteX2" fmla="*/ 1384251 w 3217557"/>
              <a:gd name="connsiteY2" fmla="*/ 1041176 h 2702049"/>
              <a:gd name="connsiteX3" fmla="*/ 1194435 w 3217557"/>
              <a:gd name="connsiteY3" fmla="*/ 851360 h 2702049"/>
              <a:gd name="connsiteX4" fmla="*/ 1384251 w 3217557"/>
              <a:gd name="connsiteY4" fmla="*/ 661544 h 2702049"/>
              <a:gd name="connsiteX5" fmla="*/ 1993421 w 3217557"/>
              <a:gd name="connsiteY5" fmla="*/ 661544 h 2702049"/>
              <a:gd name="connsiteX6" fmla="*/ 2183237 w 3217557"/>
              <a:gd name="connsiteY6" fmla="*/ 851360 h 2702049"/>
              <a:gd name="connsiteX7" fmla="*/ 1993421 w 3217557"/>
              <a:gd name="connsiteY7" fmla="*/ 1041176 h 2702049"/>
              <a:gd name="connsiteX8" fmla="*/ 1803605 w 3217557"/>
              <a:gd name="connsiteY8" fmla="*/ 851360 h 2702049"/>
              <a:gd name="connsiteX9" fmla="*/ 1993421 w 3217557"/>
              <a:gd name="connsiteY9" fmla="*/ 661544 h 2702049"/>
              <a:gd name="connsiteX10" fmla="*/ 2602591 w 3217557"/>
              <a:gd name="connsiteY10" fmla="*/ 661544 h 2702049"/>
              <a:gd name="connsiteX11" fmla="*/ 2792407 w 3217557"/>
              <a:gd name="connsiteY11" fmla="*/ 851360 h 2702049"/>
              <a:gd name="connsiteX12" fmla="*/ 2602591 w 3217557"/>
              <a:gd name="connsiteY12" fmla="*/ 1041176 h 2702049"/>
              <a:gd name="connsiteX13" fmla="*/ 2412775 w 3217557"/>
              <a:gd name="connsiteY13" fmla="*/ 851360 h 2702049"/>
              <a:gd name="connsiteX14" fmla="*/ 2602591 w 3217557"/>
              <a:gd name="connsiteY14" fmla="*/ 661544 h 2702049"/>
              <a:gd name="connsiteX15" fmla="*/ 677114 w 3217557"/>
              <a:gd name="connsiteY15" fmla="*/ 569491 h 2702049"/>
              <a:gd name="connsiteX16" fmla="*/ 330916 w 3217557"/>
              <a:gd name="connsiteY16" fmla="*/ 569491 h 2702049"/>
              <a:gd name="connsiteX17" fmla="*/ 0 w 3217557"/>
              <a:gd name="connsiteY17" fmla="*/ 900407 h 2702049"/>
              <a:gd name="connsiteX18" fmla="*/ 0 w 3217557"/>
              <a:gd name="connsiteY18" fmla="*/ 1952009 h 2702049"/>
              <a:gd name="connsiteX19" fmla="*/ 330916 w 3217557"/>
              <a:gd name="connsiteY19" fmla="*/ 2282925 h 2702049"/>
              <a:gd name="connsiteX20" fmla="*/ 711670 w 3217557"/>
              <a:gd name="connsiteY20" fmla="*/ 2282925 h 2702049"/>
              <a:gd name="connsiteX21" fmla="*/ 15770 w 3217557"/>
              <a:gd name="connsiteY21" fmla="*/ 2702049 h 2702049"/>
              <a:gd name="connsiteX22" fmla="*/ 1294529 w 3217557"/>
              <a:gd name="connsiteY22" fmla="*/ 2282925 h 2702049"/>
              <a:gd name="connsiteX23" fmla="*/ 2117356 w 3217557"/>
              <a:gd name="connsiteY23" fmla="*/ 2282925 h 2702049"/>
              <a:gd name="connsiteX24" fmla="*/ 2418395 w 3217557"/>
              <a:gd name="connsiteY24" fmla="*/ 2087951 h 2702049"/>
              <a:gd name="connsiteX25" fmla="*/ 1830857 w 3217557"/>
              <a:gd name="connsiteY25" fmla="*/ 1799347 h 2702049"/>
              <a:gd name="connsiteX26" fmla="*/ 1008030 w 3217557"/>
              <a:gd name="connsiteY26" fmla="*/ 1799347 h 2702049"/>
              <a:gd name="connsiteX27" fmla="*/ 677114 w 3217557"/>
              <a:gd name="connsiteY27" fmla="*/ 1468431 h 2702049"/>
              <a:gd name="connsiteX28" fmla="*/ 677114 w 3217557"/>
              <a:gd name="connsiteY28" fmla="*/ 569491 h 2702049"/>
              <a:gd name="connsiteX29" fmla="*/ 2886641 w 3217557"/>
              <a:gd name="connsiteY29" fmla="*/ 0 h 2702049"/>
              <a:gd name="connsiteX30" fmla="*/ 1100201 w 3217557"/>
              <a:gd name="connsiteY30" fmla="*/ 0 h 2702049"/>
              <a:gd name="connsiteX31" fmla="*/ 769285 w 3217557"/>
              <a:gd name="connsiteY31" fmla="*/ 330916 h 2702049"/>
              <a:gd name="connsiteX32" fmla="*/ 769285 w 3217557"/>
              <a:gd name="connsiteY32" fmla="*/ 1382518 h 2702049"/>
              <a:gd name="connsiteX33" fmla="*/ 1100201 w 3217557"/>
              <a:gd name="connsiteY33" fmla="*/ 1713434 h 2702049"/>
              <a:gd name="connsiteX34" fmla="*/ 1923028 w 3217557"/>
              <a:gd name="connsiteY34" fmla="*/ 1713434 h 2702049"/>
              <a:gd name="connsiteX35" fmla="*/ 3078958 w 3217557"/>
              <a:gd name="connsiteY35" fmla="*/ 2077967 h 2702049"/>
              <a:gd name="connsiteX36" fmla="*/ 2505887 w 3217557"/>
              <a:gd name="connsiteY36" fmla="*/ 1713434 h 2702049"/>
              <a:gd name="connsiteX37" fmla="*/ 2886641 w 3217557"/>
              <a:gd name="connsiteY37" fmla="*/ 1713434 h 2702049"/>
              <a:gd name="connsiteX38" fmla="*/ 3217557 w 3217557"/>
              <a:gd name="connsiteY38" fmla="*/ 1382518 h 2702049"/>
              <a:gd name="connsiteX39" fmla="*/ 3217557 w 3217557"/>
              <a:gd name="connsiteY39" fmla="*/ 330916 h 2702049"/>
              <a:gd name="connsiteX40" fmla="*/ 2886641 w 3217557"/>
              <a:gd name="connsiteY40" fmla="*/ 0 h 2702049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33810"/>
              <a:gd name="connsiteX1" fmla="*/ 1574067 w 3217557"/>
              <a:gd name="connsiteY1" fmla="*/ 851360 h 2633810"/>
              <a:gd name="connsiteX2" fmla="*/ 1384251 w 3217557"/>
              <a:gd name="connsiteY2" fmla="*/ 1041176 h 2633810"/>
              <a:gd name="connsiteX3" fmla="*/ 1194435 w 3217557"/>
              <a:gd name="connsiteY3" fmla="*/ 851360 h 2633810"/>
              <a:gd name="connsiteX4" fmla="*/ 1384251 w 3217557"/>
              <a:gd name="connsiteY4" fmla="*/ 661544 h 2633810"/>
              <a:gd name="connsiteX5" fmla="*/ 1993421 w 3217557"/>
              <a:gd name="connsiteY5" fmla="*/ 661544 h 2633810"/>
              <a:gd name="connsiteX6" fmla="*/ 2183237 w 3217557"/>
              <a:gd name="connsiteY6" fmla="*/ 851360 h 2633810"/>
              <a:gd name="connsiteX7" fmla="*/ 1993421 w 3217557"/>
              <a:gd name="connsiteY7" fmla="*/ 1041176 h 2633810"/>
              <a:gd name="connsiteX8" fmla="*/ 1803605 w 3217557"/>
              <a:gd name="connsiteY8" fmla="*/ 851360 h 2633810"/>
              <a:gd name="connsiteX9" fmla="*/ 1993421 w 3217557"/>
              <a:gd name="connsiteY9" fmla="*/ 661544 h 2633810"/>
              <a:gd name="connsiteX10" fmla="*/ 2602591 w 3217557"/>
              <a:gd name="connsiteY10" fmla="*/ 661544 h 2633810"/>
              <a:gd name="connsiteX11" fmla="*/ 2792407 w 3217557"/>
              <a:gd name="connsiteY11" fmla="*/ 851360 h 2633810"/>
              <a:gd name="connsiteX12" fmla="*/ 2602591 w 3217557"/>
              <a:gd name="connsiteY12" fmla="*/ 1041176 h 2633810"/>
              <a:gd name="connsiteX13" fmla="*/ 2412775 w 3217557"/>
              <a:gd name="connsiteY13" fmla="*/ 851360 h 2633810"/>
              <a:gd name="connsiteX14" fmla="*/ 2602591 w 3217557"/>
              <a:gd name="connsiteY14" fmla="*/ 661544 h 2633810"/>
              <a:gd name="connsiteX15" fmla="*/ 677114 w 3217557"/>
              <a:gd name="connsiteY15" fmla="*/ 569491 h 2633810"/>
              <a:gd name="connsiteX16" fmla="*/ 330916 w 3217557"/>
              <a:gd name="connsiteY16" fmla="*/ 569491 h 2633810"/>
              <a:gd name="connsiteX17" fmla="*/ 0 w 3217557"/>
              <a:gd name="connsiteY17" fmla="*/ 900407 h 2633810"/>
              <a:gd name="connsiteX18" fmla="*/ 0 w 3217557"/>
              <a:gd name="connsiteY18" fmla="*/ 1952009 h 2633810"/>
              <a:gd name="connsiteX19" fmla="*/ 330916 w 3217557"/>
              <a:gd name="connsiteY19" fmla="*/ 2282925 h 2633810"/>
              <a:gd name="connsiteX20" fmla="*/ 711670 w 3217557"/>
              <a:gd name="connsiteY20" fmla="*/ 2282925 h 2633810"/>
              <a:gd name="connsiteX21" fmla="*/ 165895 w 3217557"/>
              <a:gd name="connsiteY21" fmla="*/ 2633810 h 2633810"/>
              <a:gd name="connsiteX22" fmla="*/ 1294529 w 3217557"/>
              <a:gd name="connsiteY22" fmla="*/ 2282925 h 2633810"/>
              <a:gd name="connsiteX23" fmla="*/ 2117356 w 3217557"/>
              <a:gd name="connsiteY23" fmla="*/ 2282925 h 2633810"/>
              <a:gd name="connsiteX24" fmla="*/ 2418395 w 3217557"/>
              <a:gd name="connsiteY24" fmla="*/ 2087951 h 2633810"/>
              <a:gd name="connsiteX25" fmla="*/ 1830857 w 3217557"/>
              <a:gd name="connsiteY25" fmla="*/ 1799347 h 2633810"/>
              <a:gd name="connsiteX26" fmla="*/ 1008030 w 3217557"/>
              <a:gd name="connsiteY26" fmla="*/ 1799347 h 2633810"/>
              <a:gd name="connsiteX27" fmla="*/ 677114 w 3217557"/>
              <a:gd name="connsiteY27" fmla="*/ 1468431 h 2633810"/>
              <a:gd name="connsiteX28" fmla="*/ 677114 w 3217557"/>
              <a:gd name="connsiteY28" fmla="*/ 569491 h 2633810"/>
              <a:gd name="connsiteX29" fmla="*/ 2886641 w 3217557"/>
              <a:gd name="connsiteY29" fmla="*/ 0 h 2633810"/>
              <a:gd name="connsiteX30" fmla="*/ 1100201 w 3217557"/>
              <a:gd name="connsiteY30" fmla="*/ 0 h 2633810"/>
              <a:gd name="connsiteX31" fmla="*/ 769285 w 3217557"/>
              <a:gd name="connsiteY31" fmla="*/ 330916 h 2633810"/>
              <a:gd name="connsiteX32" fmla="*/ 769285 w 3217557"/>
              <a:gd name="connsiteY32" fmla="*/ 1382518 h 2633810"/>
              <a:gd name="connsiteX33" fmla="*/ 1100201 w 3217557"/>
              <a:gd name="connsiteY33" fmla="*/ 1713434 h 2633810"/>
              <a:gd name="connsiteX34" fmla="*/ 1923028 w 3217557"/>
              <a:gd name="connsiteY34" fmla="*/ 1713434 h 2633810"/>
              <a:gd name="connsiteX35" fmla="*/ 3078958 w 3217557"/>
              <a:gd name="connsiteY35" fmla="*/ 2077967 h 2633810"/>
              <a:gd name="connsiteX36" fmla="*/ 2505887 w 3217557"/>
              <a:gd name="connsiteY36" fmla="*/ 1713434 h 2633810"/>
              <a:gd name="connsiteX37" fmla="*/ 2886641 w 3217557"/>
              <a:gd name="connsiteY37" fmla="*/ 1713434 h 2633810"/>
              <a:gd name="connsiteX38" fmla="*/ 3217557 w 3217557"/>
              <a:gd name="connsiteY38" fmla="*/ 1382518 h 2633810"/>
              <a:gd name="connsiteX39" fmla="*/ 3217557 w 3217557"/>
              <a:gd name="connsiteY39" fmla="*/ 330916 h 2633810"/>
              <a:gd name="connsiteX40" fmla="*/ 2886641 w 3217557"/>
              <a:gd name="connsiteY40" fmla="*/ 0 h 2633810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  <a:gd name="connsiteX0" fmla="*/ 1384251 w 3217557"/>
              <a:gd name="connsiteY0" fmla="*/ 661544 h 2654282"/>
              <a:gd name="connsiteX1" fmla="*/ 1574067 w 3217557"/>
              <a:gd name="connsiteY1" fmla="*/ 851360 h 2654282"/>
              <a:gd name="connsiteX2" fmla="*/ 1384251 w 3217557"/>
              <a:gd name="connsiteY2" fmla="*/ 1041176 h 2654282"/>
              <a:gd name="connsiteX3" fmla="*/ 1194435 w 3217557"/>
              <a:gd name="connsiteY3" fmla="*/ 851360 h 2654282"/>
              <a:gd name="connsiteX4" fmla="*/ 1384251 w 3217557"/>
              <a:gd name="connsiteY4" fmla="*/ 661544 h 2654282"/>
              <a:gd name="connsiteX5" fmla="*/ 1993421 w 3217557"/>
              <a:gd name="connsiteY5" fmla="*/ 661544 h 2654282"/>
              <a:gd name="connsiteX6" fmla="*/ 2183237 w 3217557"/>
              <a:gd name="connsiteY6" fmla="*/ 851360 h 2654282"/>
              <a:gd name="connsiteX7" fmla="*/ 1993421 w 3217557"/>
              <a:gd name="connsiteY7" fmla="*/ 1041176 h 2654282"/>
              <a:gd name="connsiteX8" fmla="*/ 1803605 w 3217557"/>
              <a:gd name="connsiteY8" fmla="*/ 851360 h 2654282"/>
              <a:gd name="connsiteX9" fmla="*/ 1993421 w 3217557"/>
              <a:gd name="connsiteY9" fmla="*/ 661544 h 2654282"/>
              <a:gd name="connsiteX10" fmla="*/ 2602591 w 3217557"/>
              <a:gd name="connsiteY10" fmla="*/ 661544 h 2654282"/>
              <a:gd name="connsiteX11" fmla="*/ 2792407 w 3217557"/>
              <a:gd name="connsiteY11" fmla="*/ 851360 h 2654282"/>
              <a:gd name="connsiteX12" fmla="*/ 2602591 w 3217557"/>
              <a:gd name="connsiteY12" fmla="*/ 1041176 h 2654282"/>
              <a:gd name="connsiteX13" fmla="*/ 2412775 w 3217557"/>
              <a:gd name="connsiteY13" fmla="*/ 851360 h 2654282"/>
              <a:gd name="connsiteX14" fmla="*/ 2602591 w 3217557"/>
              <a:gd name="connsiteY14" fmla="*/ 661544 h 2654282"/>
              <a:gd name="connsiteX15" fmla="*/ 677114 w 3217557"/>
              <a:gd name="connsiteY15" fmla="*/ 569491 h 2654282"/>
              <a:gd name="connsiteX16" fmla="*/ 330916 w 3217557"/>
              <a:gd name="connsiteY16" fmla="*/ 569491 h 2654282"/>
              <a:gd name="connsiteX17" fmla="*/ 0 w 3217557"/>
              <a:gd name="connsiteY17" fmla="*/ 900407 h 2654282"/>
              <a:gd name="connsiteX18" fmla="*/ 0 w 3217557"/>
              <a:gd name="connsiteY18" fmla="*/ 1952009 h 2654282"/>
              <a:gd name="connsiteX19" fmla="*/ 330916 w 3217557"/>
              <a:gd name="connsiteY19" fmla="*/ 2282925 h 2654282"/>
              <a:gd name="connsiteX20" fmla="*/ 711670 w 3217557"/>
              <a:gd name="connsiteY20" fmla="*/ 2282925 h 2654282"/>
              <a:gd name="connsiteX21" fmla="*/ 275077 w 3217557"/>
              <a:gd name="connsiteY21" fmla="*/ 2654282 h 2654282"/>
              <a:gd name="connsiteX22" fmla="*/ 1294529 w 3217557"/>
              <a:gd name="connsiteY22" fmla="*/ 2282925 h 2654282"/>
              <a:gd name="connsiteX23" fmla="*/ 2117356 w 3217557"/>
              <a:gd name="connsiteY23" fmla="*/ 2282925 h 2654282"/>
              <a:gd name="connsiteX24" fmla="*/ 2418395 w 3217557"/>
              <a:gd name="connsiteY24" fmla="*/ 2087951 h 2654282"/>
              <a:gd name="connsiteX25" fmla="*/ 1830857 w 3217557"/>
              <a:gd name="connsiteY25" fmla="*/ 1799347 h 2654282"/>
              <a:gd name="connsiteX26" fmla="*/ 1008030 w 3217557"/>
              <a:gd name="connsiteY26" fmla="*/ 1799347 h 2654282"/>
              <a:gd name="connsiteX27" fmla="*/ 677114 w 3217557"/>
              <a:gd name="connsiteY27" fmla="*/ 1468431 h 2654282"/>
              <a:gd name="connsiteX28" fmla="*/ 677114 w 3217557"/>
              <a:gd name="connsiteY28" fmla="*/ 569491 h 2654282"/>
              <a:gd name="connsiteX29" fmla="*/ 2886641 w 3217557"/>
              <a:gd name="connsiteY29" fmla="*/ 0 h 2654282"/>
              <a:gd name="connsiteX30" fmla="*/ 1100201 w 3217557"/>
              <a:gd name="connsiteY30" fmla="*/ 0 h 2654282"/>
              <a:gd name="connsiteX31" fmla="*/ 769285 w 3217557"/>
              <a:gd name="connsiteY31" fmla="*/ 330916 h 2654282"/>
              <a:gd name="connsiteX32" fmla="*/ 769285 w 3217557"/>
              <a:gd name="connsiteY32" fmla="*/ 1382518 h 2654282"/>
              <a:gd name="connsiteX33" fmla="*/ 1100201 w 3217557"/>
              <a:gd name="connsiteY33" fmla="*/ 1713434 h 2654282"/>
              <a:gd name="connsiteX34" fmla="*/ 1923028 w 3217557"/>
              <a:gd name="connsiteY34" fmla="*/ 1713434 h 2654282"/>
              <a:gd name="connsiteX35" fmla="*/ 3078958 w 3217557"/>
              <a:gd name="connsiteY35" fmla="*/ 2077967 h 2654282"/>
              <a:gd name="connsiteX36" fmla="*/ 2505887 w 3217557"/>
              <a:gd name="connsiteY36" fmla="*/ 1713434 h 2654282"/>
              <a:gd name="connsiteX37" fmla="*/ 2886641 w 3217557"/>
              <a:gd name="connsiteY37" fmla="*/ 1713434 h 2654282"/>
              <a:gd name="connsiteX38" fmla="*/ 3217557 w 3217557"/>
              <a:gd name="connsiteY38" fmla="*/ 1382518 h 2654282"/>
              <a:gd name="connsiteX39" fmla="*/ 3217557 w 3217557"/>
              <a:gd name="connsiteY39" fmla="*/ 330916 h 2654282"/>
              <a:gd name="connsiteX40" fmla="*/ 2886641 w 3217557"/>
              <a:gd name="connsiteY40" fmla="*/ 0 h 26542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3217557" h="2654282">
                <a:moveTo>
                  <a:pt x="1384251" y="661544"/>
                </a:moveTo>
                <a:cubicBezTo>
                  <a:pt x="1489083" y="661544"/>
                  <a:pt x="1574067" y="746528"/>
                  <a:pt x="1574067" y="851360"/>
                </a:cubicBezTo>
                <a:cubicBezTo>
                  <a:pt x="1574067" y="956192"/>
                  <a:pt x="1489083" y="1041176"/>
                  <a:pt x="1384251" y="1041176"/>
                </a:cubicBezTo>
                <a:cubicBezTo>
                  <a:pt x="1279419" y="1041176"/>
                  <a:pt x="1194435" y="956192"/>
                  <a:pt x="1194435" y="851360"/>
                </a:cubicBezTo>
                <a:cubicBezTo>
                  <a:pt x="1194435" y="746528"/>
                  <a:pt x="1279419" y="661544"/>
                  <a:pt x="1384251" y="661544"/>
                </a:cubicBezTo>
                <a:close/>
                <a:moveTo>
                  <a:pt x="1993421" y="661544"/>
                </a:moveTo>
                <a:cubicBezTo>
                  <a:pt x="2098253" y="661544"/>
                  <a:pt x="2183237" y="746528"/>
                  <a:pt x="2183237" y="851360"/>
                </a:cubicBezTo>
                <a:cubicBezTo>
                  <a:pt x="2183237" y="956192"/>
                  <a:pt x="2098253" y="1041176"/>
                  <a:pt x="1993421" y="1041176"/>
                </a:cubicBezTo>
                <a:cubicBezTo>
                  <a:pt x="1888589" y="1041176"/>
                  <a:pt x="1803605" y="956192"/>
                  <a:pt x="1803605" y="851360"/>
                </a:cubicBezTo>
                <a:cubicBezTo>
                  <a:pt x="1803605" y="746528"/>
                  <a:pt x="1888589" y="661544"/>
                  <a:pt x="1993421" y="661544"/>
                </a:cubicBezTo>
                <a:close/>
                <a:moveTo>
                  <a:pt x="2602591" y="661544"/>
                </a:moveTo>
                <a:cubicBezTo>
                  <a:pt x="2707423" y="661544"/>
                  <a:pt x="2792407" y="746528"/>
                  <a:pt x="2792407" y="851360"/>
                </a:cubicBezTo>
                <a:cubicBezTo>
                  <a:pt x="2792407" y="956192"/>
                  <a:pt x="2707423" y="1041176"/>
                  <a:pt x="2602591" y="1041176"/>
                </a:cubicBezTo>
                <a:cubicBezTo>
                  <a:pt x="2497759" y="1041176"/>
                  <a:pt x="2412775" y="956192"/>
                  <a:pt x="2412775" y="851360"/>
                </a:cubicBezTo>
                <a:cubicBezTo>
                  <a:pt x="2412775" y="746528"/>
                  <a:pt x="2497759" y="661544"/>
                  <a:pt x="2602591" y="661544"/>
                </a:cubicBezTo>
                <a:close/>
                <a:moveTo>
                  <a:pt x="677114" y="569491"/>
                </a:moveTo>
                <a:lnTo>
                  <a:pt x="330916" y="569491"/>
                </a:lnTo>
                <a:cubicBezTo>
                  <a:pt x="148156" y="569491"/>
                  <a:pt x="0" y="717647"/>
                  <a:pt x="0" y="900407"/>
                </a:cubicBezTo>
                <a:lnTo>
                  <a:pt x="0" y="1952009"/>
                </a:lnTo>
                <a:cubicBezTo>
                  <a:pt x="0" y="2134769"/>
                  <a:pt x="148156" y="2282925"/>
                  <a:pt x="330916" y="2282925"/>
                </a:cubicBezTo>
                <a:lnTo>
                  <a:pt x="711670" y="2282925"/>
                </a:lnTo>
                <a:cubicBezTo>
                  <a:pt x="639726" y="2394386"/>
                  <a:pt x="647101" y="2475544"/>
                  <a:pt x="275077" y="2654282"/>
                </a:cubicBezTo>
                <a:cubicBezTo>
                  <a:pt x="900998" y="2583693"/>
                  <a:pt x="998412" y="2552618"/>
                  <a:pt x="1294529" y="2282925"/>
                </a:cubicBezTo>
                <a:lnTo>
                  <a:pt x="2117356" y="2282925"/>
                </a:lnTo>
                <a:cubicBezTo>
                  <a:pt x="2251554" y="2282925"/>
                  <a:pt x="2367095" y="2203043"/>
                  <a:pt x="2418395" y="2087951"/>
                </a:cubicBezTo>
                <a:cubicBezTo>
                  <a:pt x="2205538" y="2022975"/>
                  <a:pt x="2032941" y="1932583"/>
                  <a:pt x="1830857" y="1799347"/>
                </a:cubicBezTo>
                <a:lnTo>
                  <a:pt x="1008030" y="1799347"/>
                </a:lnTo>
                <a:cubicBezTo>
                  <a:pt x="825270" y="1799347"/>
                  <a:pt x="677114" y="1651191"/>
                  <a:pt x="677114" y="1468431"/>
                </a:cubicBezTo>
                <a:lnTo>
                  <a:pt x="677114" y="569491"/>
                </a:lnTo>
                <a:close/>
                <a:moveTo>
                  <a:pt x="2886641" y="0"/>
                </a:moveTo>
                <a:lnTo>
                  <a:pt x="1100201" y="0"/>
                </a:lnTo>
                <a:cubicBezTo>
                  <a:pt x="917441" y="0"/>
                  <a:pt x="769285" y="148156"/>
                  <a:pt x="769285" y="330916"/>
                </a:cubicBezTo>
                <a:lnTo>
                  <a:pt x="769285" y="1382518"/>
                </a:lnTo>
                <a:cubicBezTo>
                  <a:pt x="769285" y="1565278"/>
                  <a:pt x="917441" y="1713434"/>
                  <a:pt x="1100201" y="1713434"/>
                </a:cubicBezTo>
                <a:lnTo>
                  <a:pt x="1923028" y="1713434"/>
                </a:lnTo>
                <a:cubicBezTo>
                  <a:pt x="2301032" y="1962656"/>
                  <a:pt x="2453037" y="2007378"/>
                  <a:pt x="3078958" y="2077967"/>
                </a:cubicBezTo>
                <a:cubicBezTo>
                  <a:pt x="2713759" y="1878758"/>
                  <a:pt x="2673367" y="1899957"/>
                  <a:pt x="2505887" y="1713434"/>
                </a:cubicBezTo>
                <a:lnTo>
                  <a:pt x="2886641" y="1713434"/>
                </a:lnTo>
                <a:cubicBezTo>
                  <a:pt x="3069401" y="1713434"/>
                  <a:pt x="3217557" y="1565278"/>
                  <a:pt x="3217557" y="1382518"/>
                </a:cubicBezTo>
                <a:lnTo>
                  <a:pt x="3217557" y="330916"/>
                </a:lnTo>
                <a:cubicBezTo>
                  <a:pt x="3217557" y="148156"/>
                  <a:pt x="3069401" y="0"/>
                  <a:pt x="2886641" y="0"/>
                </a:cubicBezTo>
                <a:close/>
              </a:path>
            </a:pathLst>
          </a:custGeom>
          <a:solidFill>
            <a:schemeClr val="accent4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350" fontAlgn="auto">
              <a:spcBef>
                <a:spcPts val="0"/>
              </a:spcBef>
              <a:spcAft>
                <a:spcPts val="0"/>
              </a:spcAft>
              <a:defRPr/>
            </a:pPr>
            <a:endParaRPr lang="ko-KR" altLang="en-US" sz="2700" kern="0">
              <a:solidFill>
                <a:prstClr val="white"/>
              </a:solidFill>
              <a:latin typeface="Calibri"/>
              <a:ea typeface="맑은 고딕" panose="020B0503020000020004" pitchFamily="34" charset="-127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21931" y="1597260"/>
            <a:ext cx="1679375" cy="2372187"/>
          </a:xfrm>
          <a:prstGeom prst="rect">
            <a:avLst/>
          </a:prstGeom>
          <a:ln>
            <a:noFill/>
          </a:ln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87252" y="1843766"/>
            <a:ext cx="1655046" cy="1655046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4301931" y="5967746"/>
            <a:ext cx="308943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800" u="sng" dirty="0">
                <a:solidFill>
                  <a:srgbClr val="0070C0"/>
                </a:solidFill>
                <a:latin typeface="Arial Narrow" panose="020B0606020202030204" pitchFamily="34" charset="0"/>
              </a:rPr>
              <a:t>hse@kazatomprom.kz</a:t>
            </a:r>
            <a:endParaRPr lang="ru-RU" sz="1800" u="sng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7"/>
          <a:srcRect r="17031"/>
          <a:stretch/>
        </p:blipFill>
        <p:spPr>
          <a:xfrm>
            <a:off x="8520327" y="5066365"/>
            <a:ext cx="2980136" cy="1270713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276225" y="4146759"/>
            <a:ext cx="11525250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 flipH="1">
            <a:off x="3609482" y="1078390"/>
            <a:ext cx="1" cy="5522435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/>
          <p:cNvCxnSpPr/>
          <p:nvPr/>
        </p:nvCxnSpPr>
        <p:spPr>
          <a:xfrm flipH="1">
            <a:off x="7890618" y="1078390"/>
            <a:ext cx="1" cy="5522435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0" name="Рисунок 3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57"/>
          <a:stretch/>
        </p:blipFill>
        <p:spPr>
          <a:xfrm>
            <a:off x="1092221" y="1586222"/>
            <a:ext cx="1159404" cy="2404142"/>
          </a:xfrm>
          <a:prstGeom prst="roundRect">
            <a:avLst/>
          </a:prstGeom>
          <a:ln w="57150"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279140732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MTBTACCENT" val="Text2"/>
  <p:tag name="THINKCELLPRESENTATIONDONOTDELETE" val="&lt;?xml version=&quot;1.0&quot; encoding=&quot;UTF-16&quot; standalone=&quot;yes&quot;?&gt;&lt;root reqver=&quot;23045&quot;&gt;&lt;version val=&quot;25109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5&quot;&gt;&lt;elem m_fUsage=&quot;6.23555946558100160360E+00&quot;&gt;&lt;m_msothmcolidx val=&quot;0&quot;/&gt;&lt;m_rgb r=&quot;C8&quot; g=&quot;C8&quot; b=&quot;C8&quot;/&gt;&lt;m_nBrightness val=&quot;0&quot;/&gt;&lt;/elem&gt;&lt;elem m_fUsage=&quot;1.80732839803125888700E+00&quot;&gt;&lt;m_msothmcolidx val=&quot;0&quot;/&gt;&lt;m_rgb r=&quot;66&quot; g=&quot;66&quot; b=&quot;66&quot;/&gt;&lt;m_nBrightness val=&quot;0&quot;/&gt;&lt;/elem&gt;&lt;elem m_fUsage=&quot;2.54186582832900132001E-01&quot;&gt;&lt;m_msothmcolidx val=&quot;0&quot;/&gt;&lt;m_rgb r=&quot;F2&quot; g=&quot;7F&quot; b=&quot;00&quot;/&gt;&lt;m_nBrightness val=&quot;0&quot;/&gt;&lt;/elem&gt;&lt;elem m_fUsage=&quot;1.85302018885184188735E-01&quot;&gt;&lt;m_msothmcolidx val=&quot;0&quot;/&gt;&lt;m_rgb r=&quot;CD&quot; g=&quot;20&quot; b=&quot;2C&quot;/&gt;&lt;m_nBrightness val=&quot;0&quot;/&gt;&lt;/elem&gt;&lt;elem m_fUsage=&quot;1.66771816996665767086E-01&quot;&gt;&lt;m_msothmcolidx val=&quot;0&quot;/&gt;&lt;m_rgb r=&quot;A3&quot; g=&quot;B3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True"/>
  <p:tag name="PREVIOUSNAME" val="C:\Users\Almas Junussov\Box Sync\KAP Commercial\05_Working files\Almas\Conference presentations\WNA\WNA_presentation_v4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Firm Format - template_Blue">
  <a:themeElements>
    <a:clrScheme name="Custom 3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0E0E0"/>
      </a:accent1>
      <a:accent2>
        <a:srgbClr val="B3C6EB"/>
      </a:accent2>
      <a:accent3>
        <a:srgbClr val="E99D23"/>
      </a:accent3>
      <a:accent4>
        <a:srgbClr val="224084"/>
      </a:accent4>
      <a:accent5>
        <a:srgbClr val="F27F00"/>
      </a:accent5>
      <a:accent6>
        <a:srgbClr val="808080"/>
      </a:accent6>
      <a:hlink>
        <a:srgbClr val="E99D23"/>
      </a:hlink>
      <a:folHlink>
        <a:srgbClr val="224084"/>
      </a:folHlink>
    </a:clrScheme>
    <a:fontScheme name="Custom 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tomprom.potx" id="{E08EB9A8-DBED-44B4-9A13-151952B0DEA9}" vid="{ACCF8A58-EE5E-41EA-9650-4E700E06AB65}"/>
    </a:ext>
  </a:extLst>
</a:theme>
</file>

<file path=ppt/theme/theme2.xml><?xml version="1.0" encoding="utf-8"?>
<a:theme xmlns:a="http://schemas.openxmlformats.org/drawingml/2006/main" name="1_Firm Format - template_Blue">
  <a:themeElements>
    <a:clrScheme name="Custom 31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0E0E0"/>
      </a:accent1>
      <a:accent2>
        <a:srgbClr val="B3C6EB"/>
      </a:accent2>
      <a:accent3>
        <a:srgbClr val="E99D23"/>
      </a:accent3>
      <a:accent4>
        <a:srgbClr val="224084"/>
      </a:accent4>
      <a:accent5>
        <a:srgbClr val="F27F00"/>
      </a:accent5>
      <a:accent6>
        <a:srgbClr val="808080"/>
      </a:accent6>
      <a:hlink>
        <a:srgbClr val="E99D23"/>
      </a:hlink>
      <a:folHlink>
        <a:srgbClr val="224084"/>
      </a:folHlink>
    </a:clrScheme>
    <a:fontScheme name="Custom 3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Kazatomprom.potx" id="{E08EB9A8-DBED-44B4-9A13-151952B0DEA9}" vid="{ACCF8A58-EE5E-41EA-9650-4E700E06AB65}"/>
    </a:ext>
  </a:ext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20170523 - Progress review #1 v2</Template>
  <TotalTime>0</TotalTime>
  <Words>953</Words>
  <Application>Microsoft Office PowerPoint</Application>
  <PresentationFormat>Широкоэкранный</PresentationFormat>
  <Paragraphs>107</Paragraphs>
  <Slides>11</Slides>
  <Notes>1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25" baseType="lpstr">
      <vt:lpstr>Aharoni</vt:lpstr>
      <vt:lpstr>Arial</vt:lpstr>
      <vt:lpstr>Arial Narrow</vt:lpstr>
      <vt:lpstr>Calibri</vt:lpstr>
      <vt:lpstr>Calibri Light</vt:lpstr>
      <vt:lpstr>Century Gothic</vt:lpstr>
      <vt:lpstr>Lato</vt:lpstr>
      <vt:lpstr>Segoe UI</vt:lpstr>
      <vt:lpstr>Segoe UI Light</vt:lpstr>
      <vt:lpstr>Verdana</vt:lpstr>
      <vt:lpstr>Wingdings</vt:lpstr>
      <vt:lpstr>Firm Format - template_Blue</vt:lpstr>
      <vt:lpstr>1_Firm Format - template_Blu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10-15T15:41:18Z</cp:lastPrinted>
  <dcterms:created xsi:type="dcterms:W3CDTF">2017-05-23T15:40:58Z</dcterms:created>
  <dcterms:modified xsi:type="dcterms:W3CDTF">2023-05-19T13:23:57Z</dcterms:modified>
  <cp:category/>
  <cp:contentStatus/>
  <dc:language/>
  <cp:version/>
</cp:coreProperties>
</file>